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7"/>
  </p:notesMasterIdLst>
  <p:sldIdLst>
    <p:sldId id="2147481280" r:id="rId5"/>
    <p:sldId id="2147481282" r:id="rId6"/>
    <p:sldId id="2147483086" r:id="rId7"/>
    <p:sldId id="2147483084" r:id="rId8"/>
    <p:sldId id="2147483087" r:id="rId9"/>
    <p:sldId id="2147481283" r:id="rId10"/>
    <p:sldId id="288" r:id="rId11"/>
    <p:sldId id="2147483072" r:id="rId12"/>
    <p:sldId id="2147483088" r:id="rId13"/>
    <p:sldId id="2147481289" r:id="rId14"/>
    <p:sldId id="2147483089" r:id="rId15"/>
    <p:sldId id="2147481294" r:id="rId16"/>
    <p:sldId id="2147483090" r:id="rId17"/>
    <p:sldId id="292" r:id="rId18"/>
    <p:sldId id="2147483064" r:id="rId19"/>
    <p:sldId id="2147483065" r:id="rId20"/>
    <p:sldId id="2147483092" r:id="rId21"/>
    <p:sldId id="2147483068" r:id="rId22"/>
    <p:sldId id="2147483070" r:id="rId23"/>
    <p:sldId id="2147483093" r:id="rId24"/>
    <p:sldId id="2147483071" r:id="rId25"/>
    <p:sldId id="12968" r:id="rId26"/>
  </p:sldIdLst>
  <p:sldSz cx="12192000" cy="6858000"/>
  <p:notesSz cx="6797675" cy="9872663"/>
  <p:custDataLst>
    <p:tags r:id="rId28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147481280"/>
            <p14:sldId id="2147481282"/>
            <p14:sldId id="2147483086"/>
            <p14:sldId id="2147483084"/>
            <p14:sldId id="2147483087"/>
            <p14:sldId id="2147481283"/>
            <p14:sldId id="288"/>
            <p14:sldId id="2147483072"/>
            <p14:sldId id="2147483088"/>
            <p14:sldId id="2147481289"/>
            <p14:sldId id="2147483089"/>
            <p14:sldId id="2147481294"/>
            <p14:sldId id="2147483090"/>
            <p14:sldId id="292"/>
            <p14:sldId id="2147483064"/>
            <p14:sldId id="2147483065"/>
            <p14:sldId id="2147483092"/>
            <p14:sldId id="2147483068"/>
            <p14:sldId id="2147483070"/>
            <p14:sldId id="2147483093"/>
            <p14:sldId id="2147483071"/>
            <p14:sldId id="12968"/>
          </p14:sldIdLst>
        </p14:section>
        <p14:section name="Templates" id="{3ABD5D4D-2C0C-449C-A140-446C246F69B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296" userDrawn="1">
          <p15:clr>
            <a:srgbClr val="A4A3A4"/>
          </p15:clr>
        </p15:guide>
        <p15:guide id="2" orient="horz" pos="2616" userDrawn="1">
          <p15:clr>
            <a:srgbClr val="A4A3A4"/>
          </p15:clr>
        </p15:guide>
        <p15:guide id="3" pos="27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8DDDF70-BFA4-9122-644F-56C73CC5B4FA}" name="Valentina Bonucchi" initials="VB" userId="S::vbonucchi@nilfisk.com::a3c72a79-03ca-4054-8650-fe55237bf169" providerId="AD"/>
  <p188:author id="{E3AD689E-262B-A935-CEC3-AFF9757E6F5F}" name="Emma Jakobsen" initials="EJ" userId="S::ejakobsen@Nilfisk.com::7d62d3cc-97a4-4c56-8920-5d34f7ee0561" providerId="AD"/>
  <p188:author id="{F5C6B3BB-3197-D788-2093-4532F888A17D}" name="Emma Jakobsen" initials="EJ" userId="S::ejakobsen@nilfisk.com::7d62d3cc-97a4-4c56-8920-5d34f7ee056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15CD"/>
    <a:srgbClr val="8997A4"/>
    <a:srgbClr val="7C878E"/>
    <a:srgbClr val="979797"/>
    <a:srgbClr val="4B4F54"/>
    <a:srgbClr val="606A70"/>
    <a:srgbClr val="D4CFBE"/>
    <a:srgbClr val="82827E"/>
    <a:srgbClr val="DDC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22" autoAdjust="0"/>
    <p:restoredTop sz="92949" autoAdjust="0"/>
  </p:normalViewPr>
  <p:slideViewPr>
    <p:cSldViewPr snapToGrid="0">
      <p:cViewPr varScale="1">
        <p:scale>
          <a:sx n="74" d="100"/>
          <a:sy n="74" d="100"/>
        </p:scale>
        <p:origin x="400" y="56"/>
      </p:cViewPr>
      <p:guideLst>
        <p:guide orient="horz" pos="1296"/>
        <p:guide orient="horz" pos="2616"/>
        <p:guide pos="27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6630" y="9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3/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CA4DC5-BB5A-9602-6EB9-5AC8E52D49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581AA058-4634-705F-F1C3-FFF90236A4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30E0D25A-5A56-292B-3E23-112DFF11EF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BF165321-7D92-0C50-773F-0890FCF675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488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BC698B23-268E-40FD-8F7A-F46622B662D2}" type="datetime1">
              <a:rPr lang="en-US" smtClean="0"/>
              <a:t>3/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3AACCDC1-E804-4DB4-93D2-7BD7698A4330}" type="datetime1">
              <a:rPr lang="en-US" smtClean="0"/>
              <a:t>3/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02BE7DE3-0DE7-4278-85BB-9B80FBBCF727}" type="datetime1">
              <a:rPr lang="en-US" smtClean="0"/>
              <a:t>3/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9D3E72-F752-4D6C-B42B-B391BFF9F336}" type="datetime1">
              <a:rPr lang="en-US" smtClean="0"/>
              <a:t>3/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7B6989B-5918-4B30-9F46-6A7FBC8BDBCC}" type="datetime1">
              <a:rPr lang="en-US" smtClean="0"/>
              <a:t>3/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378FDFD-B8E4-49D5-809F-491048627C56}" type="datetime1">
              <a:rPr lang="en-US" smtClean="0"/>
              <a:t>3/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F345D95-23CE-4A64-9450-6401252D7C83}" type="datetime1">
              <a:rPr lang="en-US" smtClean="0"/>
              <a:t>3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F0EDB21-D3F1-45D5-8F5B-56B6BC695899}" type="datetime1">
              <a:rPr lang="en-US" smtClean="0"/>
              <a:t>3/5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91C2485E-CEA5-4B45-9623-D02649484D10}" type="datetime1">
              <a:rPr lang="en-US" smtClean="0"/>
              <a:t>3/5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 dirty="0">
                <a:solidFill>
                  <a:schemeClr val="tx1"/>
                </a:solidFill>
                <a:cs typeface="Arial" pitchFamily="34" charset="0"/>
              </a:rPr>
            </a:br>
            <a:endParaRPr lang="en-US" sz="800" dirty="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 dirty="0">
                <a:latin typeface="+mj-lt"/>
              </a:rPr>
              <a:t>Nilfisk presentation guidelines and tips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3F26E79-48AB-49D3-982F-97ED4E35B538}" type="datetime1">
              <a:rPr lang="en-US" smtClean="0"/>
              <a:t>3/5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55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83D132B2-CEF9-4911-B61E-BF1EEDC819AE}" type="datetime1">
              <a:rPr lang="en-US" smtClean="0"/>
              <a:t>3/5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D2323-22A6-ECC1-B4D6-E7AC19D81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11149C-3A15-D84E-A281-F979DC5188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DCB9ED51-7BD3-4B3A-BEFB-C4BF2673ABAC}" type="datetime1">
              <a:rPr lang="en-US" smtClean="0"/>
              <a:t>3/5/2025</a:t>
            </a:fld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5B7A6-9FC8-AC1E-B45C-0C7DFBA4F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B2DCC-CB74-4473-9BE4-94A819654807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6F1727B-EB26-092F-96B7-946BF21092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20896" y="6527513"/>
            <a:ext cx="310615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l-GR"/>
              <a:t>ΕΜΠΙΣΤΕΥΤΙΚΕΣ ΠΛΗΡΟΦΟΡΙΕΣ ΕΤΑΙΡΕΙΑΣ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4317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8A52926E-CB90-4FDB-95FC-FF74FB9D8C9C}" type="datetime1">
              <a:rPr lang="en-US" smtClean="0"/>
              <a:t>3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FC7DB967-3551-47BF-8FE8-2E79B545693F}" type="datetime1">
              <a:rPr lang="en-US" smtClean="0"/>
              <a:t>3/5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F49D89-8013-46E4-BC55-F1D77B9BAA03}" type="datetime1">
              <a:rPr lang="en-US" smtClean="0"/>
              <a:t>3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33CBDB2-5EA1-4E77-AF4A-C4E27D3DA8F9}" type="datetime1">
              <a:rPr lang="en-US" smtClean="0"/>
              <a:t>3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62E7FE9-517F-4667-A771-02C17053FF8A}" type="datetime1">
              <a:rPr lang="en-US" smtClean="0"/>
              <a:t>3/5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B42DA5-15AA-4B42-AD58-98CFE9EAE7E7}" type="datetime1">
              <a:rPr lang="en-US" smtClean="0"/>
              <a:t>3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2F1A3BF0-1FF8-4548-845D-A26BE657E66D}" type="datetime1">
              <a:rPr lang="en-US" smtClean="0"/>
              <a:t>3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72938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46E07B61-D3EA-4025-B859-DCE5DA96379E}" type="datetime1">
              <a:rPr lang="en-US" smtClean="0"/>
              <a:t>3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5" y="6529068"/>
            <a:ext cx="292608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  <p:sldLayoutId id="2147483738" r:id="rId2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iff"/><Relationship Id="rId2" Type="http://schemas.openxmlformats.org/officeDocument/2006/relationships/image" Target="../media/image21.tiff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9.tiff"/><Relationship Id="rId4" Type="http://schemas.openxmlformats.org/officeDocument/2006/relationships/image" Target="../media/image28.tif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9.tiff"/><Relationship Id="rId4" Type="http://schemas.openxmlformats.org/officeDocument/2006/relationships/image" Target="../media/image28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tiff"/><Relationship Id="rId13" Type="http://schemas.openxmlformats.org/officeDocument/2006/relationships/image" Target="../media/image41.tiff"/><Relationship Id="rId3" Type="http://schemas.openxmlformats.org/officeDocument/2006/relationships/image" Target="../media/image31.tiff"/><Relationship Id="rId7" Type="http://schemas.openxmlformats.org/officeDocument/2006/relationships/image" Target="../media/image35.tiff"/><Relationship Id="rId12" Type="http://schemas.openxmlformats.org/officeDocument/2006/relationships/image" Target="../media/image40.jpeg"/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4.tiff"/><Relationship Id="rId11" Type="http://schemas.openxmlformats.org/officeDocument/2006/relationships/image" Target="../media/image39.jpeg"/><Relationship Id="rId5" Type="http://schemas.openxmlformats.org/officeDocument/2006/relationships/image" Target="../media/image33.tiff"/><Relationship Id="rId10" Type="http://schemas.openxmlformats.org/officeDocument/2006/relationships/image" Target="../media/image38.tiff"/><Relationship Id="rId4" Type="http://schemas.openxmlformats.org/officeDocument/2006/relationships/image" Target="../media/image32.tiff"/><Relationship Id="rId9" Type="http://schemas.openxmlformats.org/officeDocument/2006/relationships/image" Target="../media/image37.tif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3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12" descr="A person cleaning a room&#10;&#10;Description automatically generated">
            <a:extLst>
              <a:ext uri="{FF2B5EF4-FFF2-40B4-BE49-F238E27FC236}">
                <a16:creationId xmlns:a16="http://schemas.microsoft.com/office/drawing/2014/main" id="{F99060CF-76EF-11B8-1903-EF728F1F2D4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06" t="21634" b="7465"/>
          <a:stretch/>
        </p:blipFill>
        <p:spPr>
          <a:xfrm>
            <a:off x="0" y="-11951"/>
            <a:ext cx="12192000" cy="6273799"/>
          </a:xfr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D68D798-D85B-43F4-8D55-7E2F22C5781F}"/>
              </a:ext>
            </a:extLst>
          </p:cNvPr>
          <p:cNvSpPr/>
          <p:nvPr/>
        </p:nvSpPr>
        <p:spPr>
          <a:xfrm>
            <a:off x="0" y="0"/>
            <a:ext cx="12192000" cy="6260409"/>
          </a:xfrm>
          <a:prstGeom prst="rect">
            <a:avLst/>
          </a:prstGeom>
          <a:gradFill>
            <a:gsLst>
              <a:gs pos="0">
                <a:schemeClr val="tx1">
                  <a:alpha val="58000"/>
                </a:schemeClr>
              </a:gs>
              <a:gs pos="64000">
                <a:srgbClr val="28313F">
                  <a:alpha val="20000"/>
                </a:srgbClr>
              </a:gs>
              <a:gs pos="100000">
                <a:schemeClr val="tx1">
                  <a:alpha val="4000"/>
                </a:schemeClr>
              </a:gs>
            </a:gsLst>
            <a:lin ang="27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0"/>
            <a:ext cx="12192000" cy="3622604"/>
          </a:xfrm>
          <a:prstGeom prst="rect">
            <a:avLst/>
          </a:prstGeom>
          <a:gradFill>
            <a:gsLst>
              <a:gs pos="0">
                <a:schemeClr val="tx1">
                  <a:alpha val="60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11233150" cy="1169582"/>
          </a:xfrm>
        </p:spPr>
        <p:txBody>
          <a:bodyPr/>
          <a:lstStyle/>
          <a:p>
            <a:r>
              <a:rPr lang="en-US" sz="1800" b="0" dirty="0">
                <a:solidFill>
                  <a:schemeClr val="bg1"/>
                </a:solidFill>
                <a:latin typeface="Roboto" panose="02000000000000000000" pitchFamily="2" charset="0"/>
              </a:rPr>
              <a:t>VU2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l-GR" dirty="0">
                <a:solidFill>
                  <a:schemeClr val="bg1"/>
                </a:solidFill>
              </a:rPr>
              <a:t>Π</a:t>
            </a:r>
            <a:r>
              <a:rPr lang="el" b="1" i="0" u="none" baseline="0" dirty="0">
                <a:solidFill>
                  <a:schemeClr val="bg1"/>
                </a:solidFill>
              </a:rPr>
              <a:t>αρουσίαση</a:t>
            </a:r>
            <a:endParaRPr lang="en-US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64960" y="1506514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540638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" name="Picture 180">
            <a:extLst>
              <a:ext uri="{FF2B5EF4-FFF2-40B4-BE49-F238E27FC236}">
                <a16:creationId xmlns:a16="http://schemas.microsoft.com/office/drawing/2014/main" id="{4EB4B976-E77A-84F4-74FE-AF94B25FA37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66726" y="3651337"/>
            <a:ext cx="3026644" cy="2622463"/>
          </a:xfrm>
          <a:prstGeom prst="rect">
            <a:avLst/>
          </a:prstGeom>
        </p:spPr>
      </p:pic>
      <p:pic>
        <p:nvPicPr>
          <p:cNvPr id="15" name="Content Placeholder 6">
            <a:extLst>
              <a:ext uri="{FF2B5EF4-FFF2-40B4-BE49-F238E27FC236}">
                <a16:creationId xmlns:a16="http://schemas.microsoft.com/office/drawing/2014/main" id="{3141DF44-A8BD-77FE-7C25-98BCF8A80F29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61" t="19875" r="17576" b="20892"/>
          <a:stretch/>
        </p:blipFill>
        <p:spPr>
          <a:xfrm>
            <a:off x="5796624" y="313152"/>
            <a:ext cx="1999915" cy="6778066"/>
          </a:xfr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9F29DE9E-357C-4AC4-1132-D8B55C402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Σύνοψη προϊόντος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2950DB-5800-BF60-59A7-C02B4F557D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vi-VN"/>
              <a:t>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997439-FCED-FE1F-BD98-DD00637C02B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021F524-83D2-E65C-7ACD-B04D98FD0545}"/>
              </a:ext>
            </a:extLst>
          </p:cNvPr>
          <p:cNvSpPr txBox="1"/>
          <p:nvPr/>
        </p:nvSpPr>
        <p:spPr>
          <a:xfrm>
            <a:off x="475521" y="5935246"/>
            <a:ext cx="3563079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l-GR" sz="1100" dirty="0">
                <a:solidFill>
                  <a:schemeClr val="tx2"/>
                </a:solidFill>
                <a:latin typeface="Roboto Light italic" panose="02000000000000000000" pitchFamily="2" charset="0"/>
              </a:rPr>
              <a:t>*Απαιτούνται συγκεκριμένες διαστάσεις</a:t>
            </a:r>
          </a:p>
          <a:p>
            <a:r>
              <a:rPr lang="el-GR" sz="1100" dirty="0">
                <a:solidFill>
                  <a:schemeClr val="tx2"/>
                </a:solidFill>
                <a:latin typeface="Roboto Light italic" panose="02000000000000000000" pitchFamily="2" charset="0"/>
              </a:rPr>
              <a:t>**Επιλεγμένα μοντέλα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ABA71B-34BA-754E-6B0D-8095777E20EE}"/>
              </a:ext>
            </a:extLst>
          </p:cNvPr>
          <p:cNvSpPr txBox="1"/>
          <p:nvPr/>
        </p:nvSpPr>
        <p:spPr>
          <a:xfrm>
            <a:off x="479425" y="1824007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l-GR" sz="1400" dirty="0">
                <a:latin typeface="+mn-lt"/>
              </a:rPr>
              <a:t>Εργονομική λαβή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A76FA0-2501-66C2-4F22-2A30E2C4D2E4}"/>
              </a:ext>
            </a:extLst>
          </p:cNvPr>
          <p:cNvCxnSpPr>
            <a:cxnSpLocks/>
          </p:cNvCxnSpPr>
          <p:nvPr/>
        </p:nvCxnSpPr>
        <p:spPr>
          <a:xfrm>
            <a:off x="475521" y="2133600"/>
            <a:ext cx="3547872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4E69F82-1763-F27E-AF0C-C36C67A6899B}"/>
              </a:ext>
            </a:extLst>
          </p:cNvPr>
          <p:cNvSpPr txBox="1"/>
          <p:nvPr/>
        </p:nvSpPr>
        <p:spPr>
          <a:xfrm>
            <a:off x="479425" y="2642634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l-GR" sz="1400" dirty="0">
                <a:latin typeface="+mn-lt"/>
              </a:rPr>
              <a:t>Επισημασμένα σημεία αφής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4F9BA24-59A3-7228-4CDF-6E3B4E83B5F0}"/>
              </a:ext>
            </a:extLst>
          </p:cNvPr>
          <p:cNvCxnSpPr>
            <a:cxnSpLocks/>
          </p:cNvCxnSpPr>
          <p:nvPr/>
        </p:nvCxnSpPr>
        <p:spPr>
          <a:xfrm>
            <a:off x="475521" y="2945787"/>
            <a:ext cx="3547872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A5DCF61-0543-E5C3-4525-A7146A8C9810}"/>
              </a:ext>
            </a:extLst>
          </p:cNvPr>
          <p:cNvSpPr txBox="1"/>
          <p:nvPr/>
        </p:nvSpPr>
        <p:spPr>
          <a:xfrm>
            <a:off x="479425" y="3454821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l-GR" sz="1400" dirty="0">
                <a:latin typeface="+mn-lt"/>
              </a:rPr>
              <a:t>Προηγμένο φιλτράρισμα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D81B51F-6677-567B-8A8F-F6C24B4A439E}"/>
              </a:ext>
            </a:extLst>
          </p:cNvPr>
          <p:cNvCxnSpPr>
            <a:cxnSpLocks/>
          </p:cNvCxnSpPr>
          <p:nvPr/>
        </p:nvCxnSpPr>
        <p:spPr>
          <a:xfrm>
            <a:off x="475521" y="3751534"/>
            <a:ext cx="3563079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76901AD-82FB-51D1-2406-D9DB42A20883}"/>
              </a:ext>
            </a:extLst>
          </p:cNvPr>
          <p:cNvSpPr txBox="1"/>
          <p:nvPr/>
        </p:nvSpPr>
        <p:spPr>
          <a:xfrm>
            <a:off x="479425" y="4260568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l-GR" sz="1400" dirty="0">
                <a:latin typeface="+mn-lt"/>
              </a:rPr>
              <a:t>Ευκολία ελιγμών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F34AEC-A240-DABD-5EF4-A01DC2CF8C31}"/>
              </a:ext>
            </a:extLst>
          </p:cNvPr>
          <p:cNvCxnSpPr>
            <a:cxnSpLocks/>
          </p:cNvCxnSpPr>
          <p:nvPr/>
        </p:nvCxnSpPr>
        <p:spPr>
          <a:xfrm>
            <a:off x="475521" y="4550842"/>
            <a:ext cx="3563079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C919B4A-76BB-21E9-5426-E67C8911D42D}"/>
              </a:ext>
            </a:extLst>
          </p:cNvPr>
          <p:cNvSpPr txBox="1"/>
          <p:nvPr/>
        </p:nvSpPr>
        <p:spPr>
          <a:xfrm>
            <a:off x="479425" y="5059877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l-GR" sz="1400" dirty="0"/>
              <a:t>Ευέλικτα αξεσουάρ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6761B5D-E420-C223-E28A-7A321A1C86BF}"/>
              </a:ext>
            </a:extLst>
          </p:cNvPr>
          <p:cNvCxnSpPr>
            <a:cxnSpLocks/>
          </p:cNvCxnSpPr>
          <p:nvPr/>
        </p:nvCxnSpPr>
        <p:spPr>
          <a:xfrm>
            <a:off x="475521" y="5343714"/>
            <a:ext cx="3563079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8E2B85A-D1D2-97CD-0514-6DF2FE770932}"/>
              </a:ext>
            </a:extLst>
          </p:cNvPr>
          <p:cNvSpPr txBox="1"/>
          <p:nvPr/>
        </p:nvSpPr>
        <p:spPr>
          <a:xfrm>
            <a:off x="8741596" y="1824007"/>
            <a:ext cx="295450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el-GR" sz="1400" dirty="0"/>
              <a:t>Στερέωση σε καρότσια καθαρισμού *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82A3762-E142-28E5-906C-93AADC571985}"/>
              </a:ext>
            </a:extLst>
          </p:cNvPr>
          <p:cNvCxnSpPr>
            <a:cxnSpLocks/>
          </p:cNvCxnSpPr>
          <p:nvPr/>
        </p:nvCxnSpPr>
        <p:spPr>
          <a:xfrm>
            <a:off x="8161673" y="2133600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5666470F-93C0-A9C2-2607-850DBB238413}"/>
              </a:ext>
            </a:extLst>
          </p:cNvPr>
          <p:cNvSpPr txBox="1"/>
          <p:nvPr/>
        </p:nvSpPr>
        <p:spPr>
          <a:xfrm>
            <a:off x="9088466" y="2422713"/>
            <a:ext cx="2607634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el-GR" sz="1400" dirty="0">
                <a:latin typeface="+mn-lt"/>
              </a:rPr>
              <a:t>Εκτεταμένος χρόνος λειτουργίας με δύο μπαταρίες**</a:t>
            </a:r>
            <a:endParaRPr lang="en-US" sz="1400" dirty="0">
              <a:latin typeface="+mn-lt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973E7FC-B0FB-E5A5-DA81-E37797BFE4B0}"/>
              </a:ext>
            </a:extLst>
          </p:cNvPr>
          <p:cNvCxnSpPr>
            <a:cxnSpLocks/>
          </p:cNvCxnSpPr>
          <p:nvPr/>
        </p:nvCxnSpPr>
        <p:spPr>
          <a:xfrm>
            <a:off x="8148638" y="2945787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91656384-9A8A-B9CF-87EB-28CE5DBEFE84}"/>
              </a:ext>
            </a:extLst>
          </p:cNvPr>
          <p:cNvSpPr txBox="1"/>
          <p:nvPr/>
        </p:nvSpPr>
        <p:spPr>
          <a:xfrm>
            <a:off x="9088466" y="3454821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el-GR" sz="1400" dirty="0">
                <a:latin typeface="+mn-lt"/>
              </a:rPr>
              <a:t>Διαισθητικά χειριστήρια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89B1468-6F30-E2CC-0012-8A8C6EC1BD29}"/>
              </a:ext>
            </a:extLst>
          </p:cNvPr>
          <p:cNvCxnSpPr>
            <a:cxnSpLocks/>
          </p:cNvCxnSpPr>
          <p:nvPr/>
        </p:nvCxnSpPr>
        <p:spPr>
          <a:xfrm>
            <a:off x="8148638" y="3751534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5D23C96C-9750-7E2E-3D05-A4F97C64AE90}"/>
              </a:ext>
            </a:extLst>
          </p:cNvPr>
          <p:cNvSpPr txBox="1"/>
          <p:nvPr/>
        </p:nvSpPr>
        <p:spPr>
          <a:xfrm>
            <a:off x="9088466" y="4260568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el-GR" sz="1400" dirty="0">
                <a:latin typeface="+mn-lt"/>
              </a:rPr>
              <a:t>Χωρίς κίνδυνο ανατροπής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CE35B71-29FF-5C66-117B-886FBAC0187C}"/>
              </a:ext>
            </a:extLst>
          </p:cNvPr>
          <p:cNvCxnSpPr>
            <a:cxnSpLocks/>
          </p:cNvCxnSpPr>
          <p:nvPr/>
        </p:nvCxnSpPr>
        <p:spPr>
          <a:xfrm>
            <a:off x="8148638" y="4550842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A5E29F29-A9C9-C6A5-BCA5-2D8974776219}"/>
              </a:ext>
            </a:extLst>
          </p:cNvPr>
          <p:cNvSpPr txBox="1"/>
          <p:nvPr/>
        </p:nvSpPr>
        <p:spPr>
          <a:xfrm>
            <a:off x="8743084" y="5059877"/>
            <a:ext cx="2953016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el-GR" sz="1400" dirty="0">
                <a:latin typeface="+mn-lt"/>
              </a:rPr>
              <a:t>Γρήγορη επαναφόρτιση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8884872-94A5-4E0E-BE56-04970114CFB9}"/>
              </a:ext>
            </a:extLst>
          </p:cNvPr>
          <p:cNvCxnSpPr>
            <a:cxnSpLocks/>
          </p:cNvCxnSpPr>
          <p:nvPr/>
        </p:nvCxnSpPr>
        <p:spPr>
          <a:xfrm>
            <a:off x="8148638" y="5343714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063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1E356-4290-026B-5C78-4C74FE02135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B9D6F8-196F-F163-DDA6-9B82B4E46D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l-GR" dirty="0"/>
              <a:t>Πλεονεκτήματα για τον πελάτη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E4781-8CEE-1DF6-59E5-CBED5AE1A84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E127A2-395C-4807-50B9-C1B190D1F69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33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DE39C95-756A-6DFA-7C51-E8899F758B7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5" y="1416345"/>
            <a:ext cx="4997449" cy="4320348"/>
          </a:xfrm>
        </p:spPr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l-GR" b="1" dirty="0">
                <a:latin typeface="Roboto Bold" panose="02000000000000000000" pitchFamily="2" charset="0"/>
              </a:rPr>
              <a:t>Κυριότερα σημεία πώλησης</a:t>
            </a:r>
          </a:p>
          <a:p>
            <a:pPr>
              <a:spcBef>
                <a:spcPts val="600"/>
              </a:spcBef>
            </a:pPr>
            <a:r>
              <a:rPr lang="el-GR" sz="1200" dirty="0">
                <a:effectLst/>
              </a:rPr>
              <a:t>Η άνεση που προσφέρει η απουσία καλωδίου επιτρέπει τον γρήγορο καθαρισμό σημείων και εξαλείφει τους κινδύνους παραπατήματος στο καλώδιο</a:t>
            </a:r>
          </a:p>
          <a:p>
            <a:pPr>
              <a:spcBef>
                <a:spcPts val="600"/>
              </a:spcBef>
            </a:pPr>
            <a:r>
              <a:rPr lang="el-GR" sz="1200" dirty="0">
                <a:effectLst/>
              </a:rPr>
              <a:t>Η εργονομική λαβή επιτρέπει τον καθαρισμό χωρίς καταπόνηση</a:t>
            </a:r>
          </a:p>
          <a:p>
            <a:pPr>
              <a:spcBef>
                <a:spcPts val="600"/>
              </a:spcBef>
            </a:pPr>
            <a:r>
              <a:rPr lang="el-GR" sz="1200" dirty="0">
                <a:effectLst/>
              </a:rPr>
              <a:t>Διαισθητική χρήση με επισημασμένα σημεία αφής</a:t>
            </a:r>
          </a:p>
          <a:p>
            <a:pPr>
              <a:spcBef>
                <a:spcPts val="600"/>
              </a:spcBef>
            </a:pPr>
            <a:r>
              <a:rPr lang="el-GR" sz="1200" dirty="0">
                <a:effectLst/>
              </a:rPr>
              <a:t>Οι μικρές και κομψές διαστάσεις επιτρέπουν εξαιρετική ευελιξία </a:t>
            </a:r>
          </a:p>
          <a:p>
            <a:pPr>
              <a:spcBef>
                <a:spcPts val="600"/>
              </a:spcBef>
            </a:pPr>
            <a:r>
              <a:rPr lang="el-GR" sz="1200" dirty="0">
                <a:effectLst/>
              </a:rPr>
              <a:t>Έχει υποβληθεί σε εκτεταμένες δοκιμές για επαγγελματική χρήση</a:t>
            </a:r>
          </a:p>
          <a:p>
            <a:pPr>
              <a:spcBef>
                <a:spcPts val="600"/>
              </a:spcBef>
            </a:pPr>
            <a:r>
              <a:rPr lang="el-GR" sz="1200" dirty="0">
                <a:effectLst/>
              </a:rPr>
              <a:t>Πιστοποιημένο φίλτρο HEPA για καθαρότερο περιβάλλον</a:t>
            </a:r>
          </a:p>
          <a:p>
            <a:pPr>
              <a:spcBef>
                <a:spcPts val="600"/>
              </a:spcBef>
            </a:pPr>
            <a:r>
              <a:rPr lang="el-GR" sz="1200" dirty="0">
                <a:effectLst/>
              </a:rPr>
              <a:t>Χαμηλό βάρος, για εύκολη μεταφορά και ευκολία χρήσης </a:t>
            </a:r>
          </a:p>
          <a:p>
            <a:pPr>
              <a:spcBef>
                <a:spcPts val="600"/>
              </a:spcBef>
            </a:pPr>
            <a:r>
              <a:rPr lang="el-GR" sz="1200" dirty="0">
                <a:effectLst/>
              </a:rPr>
              <a:t>Στερέωση σε καρότσι καθαρισμού* για εύκολη πρόσβαση</a:t>
            </a:r>
          </a:p>
          <a:p>
            <a:pPr>
              <a:spcBef>
                <a:spcPts val="600"/>
              </a:spcBef>
            </a:pPr>
            <a:r>
              <a:rPr lang="el-GR" sz="1200" dirty="0">
                <a:effectLst/>
              </a:rPr>
              <a:t>Εξαρτήματα υψηλής ποιότητας, διασφαλίζουν καλή απόδοση καθαρισμού </a:t>
            </a:r>
          </a:p>
          <a:p>
            <a:pPr>
              <a:spcBef>
                <a:spcPts val="600"/>
              </a:spcBef>
            </a:pPr>
            <a:r>
              <a:rPr lang="el-GR" sz="1200" dirty="0">
                <a:effectLst/>
              </a:rPr>
              <a:t>Χρήση μαζί με την μπαταρία και το κιτ φορτιστή για αδιάλειπτη χρήση 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E4219006-A81E-BFA6-E94A-CA42B670B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Πλεονεκτήματα για τον πελάτη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109811C-A5A2-A09D-7078-5E6877E3EFC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 dirty="0"/>
              <a:t>ΠΩΛΗΣΕΙΣ &amp; ΤΕΧΝΙΚΗ ΠΑΡΟΥΣΙΑΣΗ </a:t>
            </a:r>
            <a:r>
              <a:rPr lang="vi-VN" dirty="0"/>
              <a:t>VU200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BA7D525-B027-D5FF-DAE0-1BB8B6CB327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4C80A43-82F5-EA7B-F96C-9886E03D6D13}"/>
              </a:ext>
            </a:extLst>
          </p:cNvPr>
          <p:cNvSpPr/>
          <p:nvPr/>
        </p:nvSpPr>
        <p:spPr>
          <a:xfrm>
            <a:off x="6240780" y="0"/>
            <a:ext cx="5951220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7" name="Picture Placeholder 6" descr="A person cleaning a conference table&#10;&#10;Description automatically generated">
            <a:extLst>
              <a:ext uri="{FF2B5EF4-FFF2-40B4-BE49-F238E27FC236}">
                <a16:creationId xmlns:a16="http://schemas.microsoft.com/office/drawing/2014/main" id="{5F2CD55D-CAA6-A096-8475-AC130DD50B1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185" r="18236"/>
          <a:stretch/>
        </p:blipFill>
        <p:spPr>
          <a:xfrm>
            <a:off x="6200776" y="0"/>
            <a:ext cx="5991224" cy="628489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7F2AB6E-71AA-E63A-D46D-B69A8AF95B2B}"/>
              </a:ext>
            </a:extLst>
          </p:cNvPr>
          <p:cNvSpPr txBox="1"/>
          <p:nvPr/>
        </p:nvSpPr>
        <p:spPr>
          <a:xfrm>
            <a:off x="475521" y="6104523"/>
            <a:ext cx="6346613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l-GR" sz="1100" dirty="0">
                <a:solidFill>
                  <a:schemeClr val="tx2"/>
                </a:solidFill>
                <a:latin typeface="Roboto Light italic" panose="02000000000000000000" pitchFamily="2" charset="0"/>
              </a:rPr>
              <a:t>*Απαιτούνται συγκεκριμένες διαστάσεις</a:t>
            </a:r>
          </a:p>
        </p:txBody>
      </p:sp>
    </p:spTree>
    <p:extLst>
      <p:ext uri="{BB962C8B-B14F-4D97-AF65-F5344CB8AC3E}">
        <p14:creationId xmlns:p14="http://schemas.microsoft.com/office/powerpoint/2010/main" val="207251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A9D3F-AF2D-BC82-5C37-687DA6DB08E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5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AE9DF-082B-C007-DC5C-BA968752E1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l-GR" dirty="0"/>
              <a:t>Χαρακτηριστικά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31646A-5524-8E4F-E9A3-F24E28ADFED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 dirty="0"/>
              <a:t>ΠΩΛΗΣΕΙΣ &amp; ΤΕΧΝΙΚΗ ΠΑΡΟΥΣΙΑΣΗ </a:t>
            </a:r>
            <a:r>
              <a:rPr lang="en-US" dirty="0"/>
              <a:t>VU20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84D01C-8B4A-3017-AABC-493CDCCCD62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730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FD2D4B-EA49-4727-23E7-111965EBE0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B02DF1-C07B-4D9F-5E5D-89A7294ED38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BB900C23-91DF-BED5-632B-BCEF4D498549}"/>
              </a:ext>
            </a:extLst>
          </p:cNvPr>
          <p:cNvSpPr txBox="1">
            <a:spLocks/>
          </p:cNvSpPr>
          <p:nvPr/>
        </p:nvSpPr>
        <p:spPr>
          <a:xfrm>
            <a:off x="920896" y="6452124"/>
            <a:ext cx="3117704" cy="307777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1000" dirty="0">
                <a:solidFill>
                  <a:schemeClr val="bg2"/>
                </a:solidFill>
              </a:rPr>
              <a:t>ΠΩΛΗΣΕΙΣ &amp; ΤΕΧΝΙΚΗ ΠΑΡΟΥΣΙΑΣΗ </a:t>
            </a:r>
            <a:r>
              <a:rPr lang="en-US" sz="1000" dirty="0">
                <a:solidFill>
                  <a:schemeClr val="bg2"/>
                </a:solidFill>
              </a:rPr>
              <a:t>VU20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0959F17C-FCCA-3F37-9632-6FD6FA04F65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201" r="9263"/>
          <a:stretch/>
        </p:blipFill>
        <p:spPr>
          <a:xfrm>
            <a:off x="6205538" y="0"/>
            <a:ext cx="5986461" cy="6284890"/>
          </a:xfrm>
        </p:spPr>
      </p:pic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14F0AB47-341B-F203-B7B9-20EE11BA74EC}"/>
              </a:ext>
            </a:extLst>
          </p:cNvPr>
          <p:cNvSpPr txBox="1">
            <a:spLocks/>
          </p:cNvSpPr>
          <p:nvPr/>
        </p:nvSpPr>
        <p:spPr>
          <a:xfrm>
            <a:off x="479426" y="1416345"/>
            <a:ext cx="4681298" cy="3180707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l-GR" b="1" dirty="0">
                <a:latin typeface="Roboto Bold" panose="02000000000000000000" pitchFamily="2" charset="0"/>
              </a:rPr>
              <a:t>Απόδοση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Πάντα εύκολα προσβάσιμο με στήριξη σε καρότσι καθαρισμού* 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Σχεδίαση χωρίς καλώδιο για εξοικονόμηση χρόνου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6 διαφορετικές ρυθμίσεις ισχύος για βελτιστοποίηση της απόδοσης σε όλους τους τύπους δαπέδων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Συνεχής καθαρισμός με το κιτ φορτιστή και μπαταρίας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Υψηλή αντοχή με επαγγελματικές πιστοποιήσεις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Η εργονομική λαβή, το μικρό μέγεθος και τα λεπτά αξεσουάρ επιτρέπουν τον καθαρισμό κάτω από διατάξεις, έπιπλα, εξοπλισμό κ.λπ. 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Πιστοποιημένο φίλτρο HEPA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Μικρός χρόνος φόρτισης</a:t>
            </a:r>
          </a:p>
        </p:txBody>
      </p:sp>
      <p:sp>
        <p:nvSpPr>
          <p:cNvPr id="7" name="Title 13">
            <a:extLst>
              <a:ext uri="{FF2B5EF4-FFF2-40B4-BE49-F238E27FC236}">
                <a16:creationId xmlns:a16="http://schemas.microsoft.com/office/drawing/2014/main" id="{AAC31C09-BAAD-F336-439B-F80FC7B3B334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dirty="0"/>
              <a:t>Χαρακτηριστικά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F6E7417-C733-624E-236E-E6FB7047E328}"/>
              </a:ext>
            </a:extLst>
          </p:cNvPr>
          <p:cNvSpPr txBox="1"/>
          <p:nvPr/>
        </p:nvSpPr>
        <p:spPr>
          <a:xfrm>
            <a:off x="475521" y="6104523"/>
            <a:ext cx="6346613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l-GR" sz="1100" dirty="0">
                <a:solidFill>
                  <a:schemeClr val="tx2"/>
                </a:solidFill>
                <a:latin typeface="Roboto Light italic" panose="02000000000000000000" pitchFamily="2" charset="0"/>
              </a:rPr>
              <a:t>*Απαιτούνται συγκεκριμένες διαστάσεις</a:t>
            </a:r>
          </a:p>
        </p:txBody>
      </p:sp>
    </p:spTree>
    <p:extLst>
      <p:ext uri="{BB962C8B-B14F-4D97-AF65-F5344CB8AC3E}">
        <p14:creationId xmlns:p14="http://schemas.microsoft.com/office/powerpoint/2010/main" val="2859583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0506A2-DC1C-01D1-338E-236238FE4E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27147B-9E57-A6B5-23AB-8F3829866BF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8" name="Picture Placeholder 7" descr="A group of people in a room&#10;&#10;Description automatically generated">
            <a:extLst>
              <a:ext uri="{FF2B5EF4-FFF2-40B4-BE49-F238E27FC236}">
                <a16:creationId xmlns:a16="http://schemas.microsoft.com/office/drawing/2014/main" id="{10645FED-2607-7E2C-6486-D9E11F8D741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234" r="18234"/>
          <a:stretch>
            <a:fillRect/>
          </a:stretch>
        </p:blipFill>
        <p:spPr/>
      </p:pic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0C89ED54-1D22-C25A-9418-BF982B79577D}"/>
              </a:ext>
            </a:extLst>
          </p:cNvPr>
          <p:cNvSpPr txBox="1">
            <a:spLocks/>
          </p:cNvSpPr>
          <p:nvPr/>
        </p:nvSpPr>
        <p:spPr>
          <a:xfrm>
            <a:off x="479426" y="1416345"/>
            <a:ext cx="5086754" cy="3180707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l-GR" b="1" dirty="0">
                <a:latin typeface="Roboto Bold" panose="02000000000000000000" pitchFamily="2" charset="0"/>
              </a:rPr>
              <a:t>Εύκολη χρήση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Χαμηλό βάρος για εύκολη μεταφορά μεταξύ των θέσεων χρήσης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Εργονομική λαβή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Ασφαλή και εύκολα τοποθετούμενα αξεσουάρ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Άδειασμα κάδου σκόνης με ένα πάτημα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Μικρών διαστάσεων για εύκολη αποθήκευση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Το φίλτρο HEPA 14 εξασφαλίζει εξαερισμό για την προστασία από αλλεργιογόνα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Τα χειριστήρια βρίσκονται πάνω στη λαβή για εύκολη πρόσβαση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Συντήρηση και αντικατάσταση όλων των εξαρτημάτων χωρίς εργαλεία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Απλώς συστρέψετε το επάνω μέρος για να αλλάξετε το φίλτρο HEPA</a:t>
            </a:r>
          </a:p>
        </p:txBody>
      </p:sp>
      <p:sp>
        <p:nvSpPr>
          <p:cNvPr id="7" name="Title 13">
            <a:extLst>
              <a:ext uri="{FF2B5EF4-FFF2-40B4-BE49-F238E27FC236}">
                <a16:creationId xmlns:a16="http://schemas.microsoft.com/office/drawing/2014/main" id="{DB2E2174-96C9-7475-C9F3-DBA25674CFA7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dirty="0"/>
              <a:t>Χαρακτηριστικά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E9AB4A-0572-1A7B-C858-D17F673E634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l-GR" dirty="0"/>
              <a:t>ΠΩΛΗΣΕΙΣ &amp; ΤΕΧΝΙΚΗ ΠΑΡΟΥΣΙΑΣΗ </a:t>
            </a:r>
            <a:r>
              <a:rPr lang="en-US" dirty="0"/>
              <a:t>VU200</a:t>
            </a:r>
          </a:p>
        </p:txBody>
      </p:sp>
    </p:spTree>
    <p:extLst>
      <p:ext uri="{BB962C8B-B14F-4D97-AF65-F5344CB8AC3E}">
        <p14:creationId xmlns:p14="http://schemas.microsoft.com/office/powerpoint/2010/main" val="3512978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A43768-7F18-E675-7DE3-D2BF9344E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D300B1-2AD0-0B7F-BAE3-A04381E497D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427163EF-F4E3-6632-2D37-C07718AF652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690" r="14778"/>
          <a:stretch/>
        </p:blipFill>
        <p:spPr>
          <a:xfrm>
            <a:off x="6205538" y="0"/>
            <a:ext cx="5986461" cy="6284890"/>
          </a:xfrm>
        </p:spPr>
      </p:pic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C1DDBC47-112A-BA4F-D0BC-F30407122440}"/>
              </a:ext>
            </a:extLst>
          </p:cNvPr>
          <p:cNvSpPr txBox="1">
            <a:spLocks/>
          </p:cNvSpPr>
          <p:nvPr/>
        </p:nvSpPr>
        <p:spPr>
          <a:xfrm>
            <a:off x="479425" y="1416345"/>
            <a:ext cx="4302125" cy="3180707"/>
          </a:xfrm>
          <a:prstGeom prst="rect">
            <a:avLst/>
          </a:prstGeom>
        </p:spPr>
        <p:txBody>
          <a:bodyPr lIns="0" tIns="0" rIns="0" bIns="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l-GR" b="1" dirty="0">
                <a:latin typeface="Roboto Bold" panose="02000000000000000000" pitchFamily="2" charset="0"/>
              </a:rPr>
              <a:t>Χρήση με επιπλέον μπαταρία και φορτιστή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Συνεχής αποτελεσματικός καθαρισμός με παρατεταμένο χρόνο λειτουργίας μπαταρίας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Ταχεία φόρτιση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Μείνετε ενημερωμένοι για το επίπεδο της μπαταρίας με την ένδειξη φόρτισης</a:t>
            </a:r>
          </a:p>
          <a:p>
            <a:pPr>
              <a:spcBef>
                <a:spcPts val="600"/>
              </a:spcBef>
            </a:pPr>
            <a:r>
              <a:rPr lang="el-GR" sz="1200" dirty="0"/>
              <a:t>Μικρός και συμπαγής φορτιστής</a:t>
            </a:r>
          </a:p>
        </p:txBody>
      </p:sp>
      <p:sp>
        <p:nvSpPr>
          <p:cNvPr id="7" name="Title 13">
            <a:extLst>
              <a:ext uri="{FF2B5EF4-FFF2-40B4-BE49-F238E27FC236}">
                <a16:creationId xmlns:a16="http://schemas.microsoft.com/office/drawing/2014/main" id="{9D14466D-AF21-61FA-DEC5-7F0EC1519B14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dirty="0"/>
              <a:t>Χαρακτηριστικά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F2DC5581-CFB3-BD8F-2DD5-E93ED464EAC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5" y="6529068"/>
            <a:ext cx="2926080" cy="153888"/>
          </a:xfrm>
        </p:spPr>
        <p:txBody>
          <a:bodyPr/>
          <a:lstStyle/>
          <a:p>
            <a:pPr algn="l"/>
            <a:r>
              <a:rPr lang="el-GR" dirty="0"/>
              <a:t>ΠΩΛΗΣΕΙΣ &amp; ΤΕΧΝΙΚΗ ΠΑΡΟΥΣΙΑΣΗ </a:t>
            </a:r>
            <a:r>
              <a:rPr lang="en-US" dirty="0"/>
              <a:t>VU200</a:t>
            </a:r>
          </a:p>
        </p:txBody>
      </p:sp>
    </p:spTree>
    <p:extLst>
      <p:ext uri="{BB962C8B-B14F-4D97-AF65-F5344CB8AC3E}">
        <p14:creationId xmlns:p14="http://schemas.microsoft.com/office/powerpoint/2010/main" val="2957776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E0B3E9-D02F-9C22-9C55-3B38BB48A3A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6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7E6641-B62E-310E-482D-DA3D885DEC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l-GR" dirty="0"/>
              <a:t>Τεχνικές προδιαγραφές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B00D77-9524-B2C3-292C-9468F60AA7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F170CF-936F-E6F8-8A54-2177B257E5B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60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D268E-3AF1-3092-F25D-8F1CA05970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A499C02-BC9F-A84B-BABC-7E73F55504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Τεχνικές προδιαγραφές</a:t>
            </a:r>
            <a:endParaRPr lang="fr-F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C47135-D84B-01CD-A462-7E7872AC90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vi-VN"/>
              <a:t>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915AC3-A388-902E-9494-A772DAA071A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8</a:t>
            </a:fld>
            <a:endParaRPr lang="en-US"/>
          </a:p>
        </p:txBody>
      </p:sp>
      <p:graphicFrame>
        <p:nvGraphicFramePr>
          <p:cNvPr id="9" name="Tabella 17">
            <a:extLst>
              <a:ext uri="{FF2B5EF4-FFF2-40B4-BE49-F238E27FC236}">
                <a16:creationId xmlns:a16="http://schemas.microsoft.com/office/drawing/2014/main" id="{BDC28D96-BBCB-70E0-1ED2-E6A0CD952A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5767386"/>
              </p:ext>
            </p:extLst>
          </p:nvPr>
        </p:nvGraphicFramePr>
        <p:xfrm>
          <a:off x="483798" y="2384026"/>
          <a:ext cx="11228777" cy="386635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837731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688164">
                  <a:extLst>
                    <a:ext uri="{9D8B030D-6E8A-4147-A177-3AD203B41FA5}">
                      <a16:colId xmlns:a16="http://schemas.microsoft.com/office/drawing/2014/main" val="878319614"/>
                    </a:ext>
                  </a:extLst>
                </a:gridCol>
                <a:gridCol w="2977872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3146786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2578224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1100" b="1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1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Μονάδα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1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U2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1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Μπαταρία και φορτιστής VU2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1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U200 με μπαταρία και φορτιστή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Αρ. είδους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it-I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9017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8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9017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Τύπος βύσματος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it-I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/>
                        <a:t>EU, UK, US, AU</a:t>
                      </a:r>
                      <a:endParaRPr lang="en-GB" sz="1100" dirty="0"/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EU, UK, US, AU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/>
                        <a:t>EU, UK, US, AU</a:t>
                      </a:r>
                      <a:endParaRPr lang="en-GB" sz="1100" dirty="0"/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Τύπος φίλτρου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it-I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100" dirty="0"/>
                        <a:t>HEPA 1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it-IT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100"/>
                        <a:t>HEPA 14</a:t>
                      </a:r>
                      <a:endParaRPr lang="en-GB" sz="1100" dirty="0"/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Ονομαστική ισχύς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W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55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  6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 550/6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σχύς αναρρόφησης στο άκρο του σωλήνα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W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7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it-IT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70</a:t>
                      </a:r>
                      <a:endParaRPr lang="da-DK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Ροή αέρα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sec.</a:t>
                      </a:r>
                      <a:endParaRPr lang="it-I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it-IT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Χωρητικότητα κάδου σκόνης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</a:t>
                      </a:r>
                      <a:endParaRPr lang="it-I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it-IT" sz="11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100"/>
                        <a:t>0,8</a:t>
                      </a:r>
                      <a:endParaRPr lang="en-GB" sz="1100"/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Χρόνος φόρτισης μπαταρίας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in</a:t>
                      </a:r>
                      <a:endParaRPr lang="it-I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en-GB" sz="1100"/>
                        <a:t>110</a:t>
                      </a:r>
                      <a:endParaRPr lang="da-DK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en-GB" sz="1100" dirty="0"/>
                        <a:t>110</a:t>
                      </a:r>
                      <a:endParaRPr lang="da-DK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en-GB" sz="1100"/>
                        <a:t>110</a:t>
                      </a:r>
                      <a:endParaRPr lang="da-DK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Χρόνος λειτουργίας μπαταρίας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in</a:t>
                      </a:r>
                      <a:endParaRPr lang="it-I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en-GB" sz="1100"/>
                        <a:t>60/25/12</a:t>
                      </a:r>
                      <a:endParaRPr lang="da-DK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it-IT" sz="11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2 x 60/25/1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ήκος x πλάτος x ύψος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m</a:t>
                      </a:r>
                      <a:endParaRPr lang="it-I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255x226x1255</a:t>
                      </a:r>
                      <a:endParaRPr lang="da-DK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87x113x210</a:t>
                      </a:r>
                      <a:endParaRPr lang="da-DK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255x226x1255/187x113x21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Βάρος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g</a:t>
                      </a:r>
                      <a:endParaRPr lang="it-I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2,97</a:t>
                      </a:r>
                      <a:endParaRPr lang="da-DK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,4</a:t>
                      </a:r>
                      <a:endParaRPr lang="da-DK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5000"/>
                        </a:lnSpc>
                      </a:pPr>
                      <a:r>
                        <a:rPr lang="da-DK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2,97/1,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</a:tbl>
          </a:graphicData>
        </a:graphic>
      </p:graphicFrame>
      <p:pic>
        <p:nvPicPr>
          <p:cNvPr id="2" name="Content Placeholder 6">
            <a:extLst>
              <a:ext uri="{FF2B5EF4-FFF2-40B4-BE49-F238E27FC236}">
                <a16:creationId xmlns:a16="http://schemas.microsoft.com/office/drawing/2014/main" id="{8013C916-31DF-BF65-9098-9F2DA169674D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61" t="19875" r="17576" b="20892"/>
          <a:stretch/>
        </p:blipFill>
        <p:spPr>
          <a:xfrm>
            <a:off x="4343399" y="738107"/>
            <a:ext cx="529225" cy="1793637"/>
          </a:xfr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80FB577-69EC-0487-6988-824D0B0DAEE7}"/>
              </a:ext>
            </a:extLst>
          </p:cNvPr>
          <p:cNvGrpSpPr/>
          <p:nvPr/>
        </p:nvGrpSpPr>
        <p:grpSpPr>
          <a:xfrm>
            <a:off x="9918722" y="694831"/>
            <a:ext cx="1026456" cy="1816638"/>
            <a:chOff x="3966726" y="313152"/>
            <a:chExt cx="3829813" cy="6778066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5325498-03E2-795E-F516-605CA7C1C24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66726" y="3651337"/>
              <a:ext cx="3026644" cy="2622463"/>
            </a:xfrm>
            <a:prstGeom prst="rect">
              <a:avLst/>
            </a:prstGeom>
          </p:spPr>
        </p:pic>
        <p:pic>
          <p:nvPicPr>
            <p:cNvPr id="7" name="Content Placeholder 6">
              <a:extLst>
                <a:ext uri="{FF2B5EF4-FFF2-40B4-BE49-F238E27FC236}">
                  <a16:creationId xmlns:a16="http://schemas.microsoft.com/office/drawing/2014/main" id="{E2F9023A-71DD-4395-74F6-72935ADCB8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3261" t="19875" r="17576" b="20892"/>
            <a:stretch/>
          </p:blipFill>
          <p:spPr>
            <a:xfrm>
              <a:off x="5796624" y="313152"/>
              <a:ext cx="1999915" cy="6778066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09CA0B7F-A229-3B54-B8F9-A9AC1E255BE7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35034" y="1263575"/>
            <a:ext cx="1538616" cy="1333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617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C10275-C2EB-F95F-6074-9041E3ACB6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D944F42-091F-A4E9-F80F-365D84A98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Χαρακτηριστικά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460C99-02EC-8151-B44A-9846DBC07E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vi-VN"/>
              <a:t>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B5B015-431F-0014-2ED2-F887149FA01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9</a:t>
            </a:fld>
            <a:endParaRPr lang="en-US"/>
          </a:p>
        </p:txBody>
      </p:sp>
      <p:graphicFrame>
        <p:nvGraphicFramePr>
          <p:cNvPr id="3" name="Tabella 17">
            <a:extLst>
              <a:ext uri="{FF2B5EF4-FFF2-40B4-BE49-F238E27FC236}">
                <a16:creationId xmlns:a16="http://schemas.microsoft.com/office/drawing/2014/main" id="{19B42E10-4FD1-ACDC-FD13-4FA23B8280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9235036"/>
              </p:ext>
            </p:extLst>
          </p:nvPr>
        </p:nvGraphicFramePr>
        <p:xfrm>
          <a:off x="483798" y="2384026"/>
          <a:ext cx="11228777" cy="376730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525895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977872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3146786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2578224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1100" b="1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1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 VU2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1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Μπαταρία και φορτιστής VU2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1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U200 με μπαταρία και φορτιστή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Αρ. είδους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9017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8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9017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84262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Εργονομικός σχεδιασμός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it-IT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Φιλτράρισμα HEPA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it-IT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-σε-1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it-IT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Πολυλειτουργικά σκληρά και </a:t>
                      </a:r>
                      <a:endParaRPr lang="en-US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αλακά δάπεδα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it-IT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Δύο ταχύτητες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it-IT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Επιτοίχια τοποθέτηση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it-IT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Ένδειξη στο μηχάνημα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it-IT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-1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Ένδειξη σύνδεσης σε παροχή ρεύματος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Ένδειξη επιπέδου μπαταρίας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Ένδειξη φόρτισης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</a:tbl>
          </a:graphicData>
        </a:graphic>
      </p:graphicFrame>
      <p:pic>
        <p:nvPicPr>
          <p:cNvPr id="2" name="Content Placeholder 6">
            <a:extLst>
              <a:ext uri="{FF2B5EF4-FFF2-40B4-BE49-F238E27FC236}">
                <a16:creationId xmlns:a16="http://schemas.microsoft.com/office/drawing/2014/main" id="{81319FFE-A64E-EA2D-764D-14DE49CB5005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61" t="19875" r="17576" b="20892"/>
          <a:stretch/>
        </p:blipFill>
        <p:spPr>
          <a:xfrm>
            <a:off x="4343399" y="738107"/>
            <a:ext cx="529225" cy="1793637"/>
          </a:xfr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BE1C9E5A-247A-77A5-3EA3-00FE8F6A6D9B}"/>
              </a:ext>
            </a:extLst>
          </p:cNvPr>
          <p:cNvGrpSpPr/>
          <p:nvPr/>
        </p:nvGrpSpPr>
        <p:grpSpPr>
          <a:xfrm>
            <a:off x="9918722" y="694831"/>
            <a:ext cx="1026456" cy="1816638"/>
            <a:chOff x="3966726" y="313152"/>
            <a:chExt cx="3829813" cy="677806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FA8831E-51A9-A2D8-ED55-4C9819FC69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66726" y="3651337"/>
              <a:ext cx="3026644" cy="2622463"/>
            </a:xfrm>
            <a:prstGeom prst="rect">
              <a:avLst/>
            </a:prstGeom>
          </p:spPr>
        </p:pic>
        <p:pic>
          <p:nvPicPr>
            <p:cNvPr id="9" name="Content Placeholder 6">
              <a:extLst>
                <a:ext uri="{FF2B5EF4-FFF2-40B4-BE49-F238E27FC236}">
                  <a16:creationId xmlns:a16="http://schemas.microsoft.com/office/drawing/2014/main" id="{395BCAAF-7925-0AC5-0545-59106184DA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3261" t="19875" r="17576" b="20892"/>
            <a:stretch/>
          </p:blipFill>
          <p:spPr>
            <a:xfrm>
              <a:off x="5796624" y="313152"/>
              <a:ext cx="1999915" cy="6778066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DD801B11-DDA4-3AB4-B118-D11388CDB4F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35034" y="1263575"/>
            <a:ext cx="1538616" cy="1333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635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Picture 85">
            <a:extLst>
              <a:ext uri="{FF2B5EF4-FFF2-40B4-BE49-F238E27FC236}">
                <a16:creationId xmlns:a16="http://schemas.microsoft.com/office/drawing/2014/main" id="{220DF2AB-3CC6-D95D-36BC-36FEFF4BE89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903" r="21903"/>
          <a:stretch/>
        </p:blipFill>
        <p:spPr>
          <a:xfrm>
            <a:off x="6906022" y="0"/>
            <a:ext cx="5285978" cy="6273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Περιεχόμενα</a:t>
            </a:r>
            <a:endParaRPr lang="en-US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l-GR" dirty="0"/>
              <a:t>ΠΩΛΗΣΕΙΣ &amp; ΤΕΧΝΙΚΗ ΠΑΡΟΥΣΙΑΣΗ </a:t>
            </a:r>
            <a:r>
              <a:rPr lang="vi-VN" dirty="0"/>
              <a:t>VU200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97DC85A-115F-B488-0FF2-393AFDFE4C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313325" y="1412875"/>
            <a:ext cx="1983450" cy="698238"/>
          </a:xfrm>
        </p:spPr>
        <p:txBody>
          <a:bodyPr/>
          <a:lstStyle/>
          <a:p>
            <a:r>
              <a:rPr lang="el-GR" dirty="0"/>
              <a:t>Πρόταση αξίας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9DFA9EFA-F7FC-B1EA-18F8-ED70C828A50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313325" y="2420938"/>
            <a:ext cx="1496928" cy="698238"/>
          </a:xfrm>
        </p:spPr>
        <p:txBody>
          <a:bodyPr/>
          <a:lstStyle/>
          <a:p>
            <a:r>
              <a:rPr lang="el-GR" dirty="0"/>
              <a:t>Κύριες περιοχές εφαρμογών 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2B591C3E-513D-54CD-4B21-33944794313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313325" y="3429000"/>
            <a:ext cx="2247699" cy="698238"/>
          </a:xfrm>
        </p:spPr>
        <p:txBody>
          <a:bodyPr/>
          <a:lstStyle/>
          <a:p>
            <a:r>
              <a:rPr lang="el-GR" dirty="0"/>
              <a:t>Σύνοψη προϊόντος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977F7B4D-17D2-03BB-3A4A-D391EC0B58D4}"/>
              </a:ext>
            </a:extLst>
          </p:cNvPr>
          <p:cNvSpPr txBox="1">
            <a:spLocks/>
          </p:cNvSpPr>
          <p:nvPr/>
        </p:nvSpPr>
        <p:spPr>
          <a:xfrm>
            <a:off x="462758" y="141287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x-mo-SDL"/>
              <a:t>1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8E48F099-CBE1-E685-1C9F-4DB6E520B537}"/>
              </a:ext>
            </a:extLst>
          </p:cNvPr>
          <p:cNvSpPr txBox="1">
            <a:spLocks/>
          </p:cNvSpPr>
          <p:nvPr/>
        </p:nvSpPr>
        <p:spPr>
          <a:xfrm>
            <a:off x="462758" y="242093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x-mo-SDL"/>
              <a:t>2</a:t>
            </a: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BF93A8E1-856B-D296-4741-626770641891}"/>
              </a:ext>
            </a:extLst>
          </p:cNvPr>
          <p:cNvSpPr txBox="1">
            <a:spLocks/>
          </p:cNvSpPr>
          <p:nvPr/>
        </p:nvSpPr>
        <p:spPr>
          <a:xfrm>
            <a:off x="462758" y="3429000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x-mo-SDL"/>
              <a:t>3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3B7EA48-27E7-4838-E1E2-8350D149F49C}"/>
              </a:ext>
            </a:extLst>
          </p:cNvPr>
          <p:cNvSpPr txBox="1">
            <a:spLocks/>
          </p:cNvSpPr>
          <p:nvPr/>
        </p:nvSpPr>
        <p:spPr>
          <a:xfrm>
            <a:off x="4374657" y="1412875"/>
            <a:ext cx="2411328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dirty="0"/>
              <a:t>Χαρακτηριστικά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88D35B3-03C2-DE11-F725-8D9AAB1E94E4}"/>
              </a:ext>
            </a:extLst>
          </p:cNvPr>
          <p:cNvSpPr txBox="1">
            <a:spLocks/>
          </p:cNvSpPr>
          <p:nvPr/>
        </p:nvSpPr>
        <p:spPr>
          <a:xfrm>
            <a:off x="4374657" y="2367952"/>
            <a:ext cx="2247699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dirty="0"/>
              <a:t>Τεχνικές προδιαγραφές</a:t>
            </a:r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B673E331-4A10-A652-6A9F-69FF35A729B7}"/>
              </a:ext>
            </a:extLst>
          </p:cNvPr>
          <p:cNvSpPr txBox="1">
            <a:spLocks/>
          </p:cNvSpPr>
          <p:nvPr/>
        </p:nvSpPr>
        <p:spPr>
          <a:xfrm>
            <a:off x="3524090" y="141287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5</a:t>
            </a:r>
            <a:endParaRPr lang="es-x-mo-SDL" dirty="0"/>
          </a:p>
        </p:txBody>
      </p:sp>
      <p:sp>
        <p:nvSpPr>
          <p:cNvPr id="58" name="Text Placeholder 9">
            <a:extLst>
              <a:ext uri="{FF2B5EF4-FFF2-40B4-BE49-F238E27FC236}">
                <a16:creationId xmlns:a16="http://schemas.microsoft.com/office/drawing/2014/main" id="{67986382-D992-D084-E499-4215D868DAC9}"/>
              </a:ext>
            </a:extLst>
          </p:cNvPr>
          <p:cNvSpPr txBox="1">
            <a:spLocks/>
          </p:cNvSpPr>
          <p:nvPr/>
        </p:nvSpPr>
        <p:spPr>
          <a:xfrm>
            <a:off x="3524090" y="242093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6</a:t>
            </a:r>
            <a:endParaRPr lang="es-x-mo-SDL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153C7D43-0575-808C-867B-88421993DF80}"/>
              </a:ext>
            </a:extLst>
          </p:cNvPr>
          <p:cNvSpPr txBox="1">
            <a:spLocks/>
          </p:cNvSpPr>
          <p:nvPr/>
        </p:nvSpPr>
        <p:spPr>
          <a:xfrm>
            <a:off x="3524090" y="3429000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7</a:t>
            </a:r>
            <a:endParaRPr lang="es-x-mo-SD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B10C65-6D7A-9DC6-8583-53589D73A685}"/>
              </a:ext>
            </a:extLst>
          </p:cNvPr>
          <p:cNvSpPr txBox="1">
            <a:spLocks/>
          </p:cNvSpPr>
          <p:nvPr/>
        </p:nvSpPr>
        <p:spPr>
          <a:xfrm>
            <a:off x="1329992" y="4437062"/>
            <a:ext cx="2247699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dirty="0"/>
              <a:t>Πλεονεκτήματα </a:t>
            </a:r>
            <a:br>
              <a:rPr lang="en-US" dirty="0"/>
            </a:br>
            <a:r>
              <a:rPr lang="el-GR" dirty="0"/>
              <a:t>για τον πελάτη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79BE8498-EC3E-F45E-D23A-7C4C6C97987F}"/>
              </a:ext>
            </a:extLst>
          </p:cNvPr>
          <p:cNvSpPr txBox="1">
            <a:spLocks/>
          </p:cNvSpPr>
          <p:nvPr/>
        </p:nvSpPr>
        <p:spPr>
          <a:xfrm>
            <a:off x="479425" y="443706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4</a:t>
            </a:r>
            <a:endParaRPr lang="es-x-mo-SDL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3C45F04-9165-439F-4BD8-68A7375C3FB4}"/>
              </a:ext>
            </a:extLst>
          </p:cNvPr>
          <p:cNvSpPr txBox="1">
            <a:spLocks/>
          </p:cNvSpPr>
          <p:nvPr/>
        </p:nvSpPr>
        <p:spPr>
          <a:xfrm>
            <a:off x="4374657" y="3401893"/>
            <a:ext cx="2247699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dirty="0"/>
              <a:t>Αξεσουάρ</a:t>
            </a:r>
          </a:p>
        </p:txBody>
      </p:sp>
      <p:pic>
        <p:nvPicPr>
          <p:cNvPr id="10" name="Picture Placeholder 7" descr="A person vacuuming the stairs&#10;&#10;Description automatically generated">
            <a:extLst>
              <a:ext uri="{FF2B5EF4-FFF2-40B4-BE49-F238E27FC236}">
                <a16:creationId xmlns:a16="http://schemas.microsoft.com/office/drawing/2014/main" id="{FBD3DF24-401C-D89B-FD61-D2BCAE52F6E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518" r="9381"/>
          <a:stretch/>
        </p:blipFill>
        <p:spPr>
          <a:xfrm>
            <a:off x="6906021" y="0"/>
            <a:ext cx="5285978" cy="6284890"/>
          </a:xfrm>
        </p:spPr>
      </p:pic>
    </p:spTree>
    <p:extLst>
      <p:ext uri="{BB962C8B-B14F-4D97-AF65-F5344CB8AC3E}">
        <p14:creationId xmlns:p14="http://schemas.microsoft.com/office/powerpoint/2010/main" val="36621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071200-C7D2-32DC-6F86-96AF90A1272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7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50C3B-375E-901A-2BA1-ABA7116FDA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l-GR" dirty="0"/>
              <a:t>Αξεσουάρ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DD1D23-390E-DDD1-3F18-43098B3CCD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26FD9D-D9AA-15C8-2FF1-DD7D032E08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27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99A423-49F7-182C-D3B8-BA5348C6AD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10152CED-74AB-3CA4-012B-39B9C905BF2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0586" y="1767268"/>
            <a:ext cx="853739" cy="611881"/>
          </a:xfrm>
          <a:prstGeom prst="rect">
            <a:avLst/>
          </a:prstGeom>
        </p:spPr>
      </p:pic>
      <p:graphicFrame>
        <p:nvGraphicFramePr>
          <p:cNvPr id="30" name="Tabella 17">
            <a:extLst>
              <a:ext uri="{FF2B5EF4-FFF2-40B4-BE49-F238E27FC236}">
                <a16:creationId xmlns:a16="http://schemas.microsoft.com/office/drawing/2014/main" id="{701B70FE-EC0D-B739-296E-EBD5D36CF9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7145509"/>
              </p:ext>
            </p:extLst>
          </p:nvPr>
        </p:nvGraphicFramePr>
        <p:xfrm>
          <a:off x="479425" y="1412878"/>
          <a:ext cx="4921183" cy="413114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332476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168501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1420206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</a:tblGrid>
              <a:tr h="290662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it-IT" sz="1100" b="1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1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 Όνομα</a:t>
                      </a:r>
                    </a:p>
                  </a:txBody>
                  <a:tcPr marL="73152" marR="0" marT="36000" marB="36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-GR" sz="1100" b="1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Αρ. είδους </a:t>
                      </a:r>
                    </a:p>
                  </a:txBody>
                  <a:tcPr marL="73152" marR="0" marT="36000" marB="36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it-I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Εργαλείο για χαραμάδες </a:t>
                      </a:r>
                      <a:br>
                        <a:rPr lang="en-US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</a:br>
                      <a:r>
                        <a:rPr lang="el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 Μαύρο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46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it-I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Συνδυαστική βούρτσα S μαύρη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48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it-I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Στήριγμα τοίχου S μαύρο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56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it-I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Βούρτσα για καναπέ S μαύρη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50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Βούρτσα S μαύρη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51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kern="1200" cap="none" spc="-1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Ράουλα σκληρού δαπέδου VU200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96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8689"/>
                  </a:ext>
                </a:extLst>
              </a:tr>
            </a:tbl>
          </a:graphicData>
        </a:graphic>
      </p:graphicFrame>
      <p:graphicFrame>
        <p:nvGraphicFramePr>
          <p:cNvPr id="26" name="Tabella 17">
            <a:extLst>
              <a:ext uri="{FF2B5EF4-FFF2-40B4-BE49-F238E27FC236}">
                <a16:creationId xmlns:a16="http://schemas.microsoft.com/office/drawing/2014/main" id="{C7AE0F93-D5A2-9ABB-C7DA-F7DC3EA04D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3014848"/>
              </p:ext>
            </p:extLst>
          </p:nvPr>
        </p:nvGraphicFramePr>
        <p:xfrm>
          <a:off x="6791392" y="1412878"/>
          <a:ext cx="4921183" cy="413114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332476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168501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1420206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</a:tblGrid>
              <a:tr h="290662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it-IT" sz="1100" b="1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100" b="1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 Όνομα</a:t>
                      </a:r>
                    </a:p>
                  </a:txBody>
                  <a:tcPr marL="73152" marR="0" marT="36000" marB="36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-GR" sz="1100" b="1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Αρ. είδους</a:t>
                      </a:r>
                      <a:endParaRPr lang="en-US" sz="1100" b="1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3152" marR="0" marT="36000" marB="36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it-I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/>
                      <a:r>
                        <a:rPr lang="el" sz="11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Ράουλα μοκέτας VU200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97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it-I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Εύκαμπτος σωλήνας S μαύρος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52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it-I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Ενεργή βούρτσα S μαύρη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54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it-I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HEPA 14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457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Άγκιστρο και βραχίονες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8389500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100" b="1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100" b="1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U200</a:t>
                      </a:r>
                      <a:endParaRPr lang="el" sz="1100" b="1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100" b="1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</a:rPr>
                        <a:t>128390174</a:t>
                      </a:r>
                    </a:p>
                  </a:txBody>
                  <a:tcPr marL="73152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8689"/>
                  </a:ext>
                </a:extLst>
              </a:tr>
            </a:tbl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9C10A42B-8BC2-63AF-005D-A2CB93289D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Εξαρτήματα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6B3E61-F1CE-8ED3-6A79-77D2293774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vi-VN"/>
              <a:t>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613FE4-8D99-2E57-E9CC-C2E75D2F78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80D44C-FB4B-1832-2B4D-7AB7EBE96FA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2269" y="1744866"/>
            <a:ext cx="395386" cy="57991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DA2AAAC-C616-A9DD-E74C-6B55BBB0E9E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452" y="2379475"/>
            <a:ext cx="415307" cy="55510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6F66F65-5C8A-6A80-21C6-E069B5171751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7069" y="2787703"/>
            <a:ext cx="908601" cy="100052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6B52F21-CD9C-1821-7A71-031649103F5D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6569" y="3696261"/>
            <a:ext cx="497556" cy="51528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5EFE762-0BDC-E772-AC3D-0E84AB99141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0057" y="4329741"/>
            <a:ext cx="580435" cy="53688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88A70AA-2F17-75BC-ED78-6B914FAC31BA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0137" y="5003511"/>
            <a:ext cx="740563" cy="59469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A5BAF08-9793-5744-464B-DE5018C3768F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23076" y="3097265"/>
            <a:ext cx="561644" cy="45727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3B25AA5-DA64-1795-5A8C-5EDB8DB72F65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6664" y="2398445"/>
            <a:ext cx="260072" cy="548540"/>
          </a:xfrm>
          <a:prstGeom prst="rect">
            <a:avLst/>
          </a:prstGeom>
        </p:spPr>
      </p:pic>
      <p:pic>
        <p:nvPicPr>
          <p:cNvPr id="35" name="Picture 34" descr="A black round object with white paper&#10;&#10;Description automatically generated">
            <a:extLst>
              <a:ext uri="{FF2B5EF4-FFF2-40B4-BE49-F238E27FC236}">
                <a16:creationId xmlns:a16="http://schemas.microsoft.com/office/drawing/2014/main" id="{BB9F2E5B-4751-3ABF-254D-95D7461CD3ED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6561" y="3682614"/>
            <a:ext cx="538053" cy="499086"/>
          </a:xfrm>
          <a:prstGeom prst="rect">
            <a:avLst/>
          </a:prstGeom>
        </p:spPr>
      </p:pic>
      <p:pic>
        <p:nvPicPr>
          <p:cNvPr id="25" name="Picture 24" descr="A black metal bracket with screws&#10;&#10;Description automatically generated">
            <a:extLst>
              <a:ext uri="{FF2B5EF4-FFF2-40B4-BE49-F238E27FC236}">
                <a16:creationId xmlns:a16="http://schemas.microsoft.com/office/drawing/2014/main" id="{D9E35401-3067-5E8D-B370-40BC0C6C0B79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9189" y="4290164"/>
            <a:ext cx="639527" cy="586732"/>
          </a:xfrm>
          <a:prstGeom prst="rect">
            <a:avLst/>
          </a:prstGeom>
        </p:spPr>
      </p:pic>
      <p:pic>
        <p:nvPicPr>
          <p:cNvPr id="2" name="Content Placeholder 6">
            <a:extLst>
              <a:ext uri="{FF2B5EF4-FFF2-40B4-BE49-F238E27FC236}">
                <a16:creationId xmlns:a16="http://schemas.microsoft.com/office/drawing/2014/main" id="{4E7C18BF-97C5-B13C-AFB7-F512532290E0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61" t="19875" r="17576" b="20892"/>
          <a:stretch/>
        </p:blipFill>
        <p:spPr>
          <a:xfrm>
            <a:off x="7268226" y="4891413"/>
            <a:ext cx="200017" cy="677892"/>
          </a:xfrm>
        </p:spPr>
      </p:pic>
    </p:spTree>
    <p:extLst>
      <p:ext uri="{BB962C8B-B14F-4D97-AF65-F5344CB8AC3E}">
        <p14:creationId xmlns:p14="http://schemas.microsoft.com/office/powerpoint/2010/main" val="426929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E03B592-DDBA-4E54-B79B-0BEAFE605D48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8" name="Picture 7" descr="Text, logo&#10;&#10;Description automatically generated">
            <a:extLst>
              <a:ext uri="{FF2B5EF4-FFF2-40B4-BE49-F238E27FC236}">
                <a16:creationId xmlns:a16="http://schemas.microsoft.com/office/drawing/2014/main" id="{6E7803AC-B422-41AD-90F6-63F8F13885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6812" y="2619513"/>
            <a:ext cx="4758375" cy="1618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5827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8AF37-38D1-EB30-A280-F765B213EF4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381215-9C4D-64D6-6DC1-59CA223092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l-GR" dirty="0"/>
              <a:t>Πρόταση αξίας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EAEA93-6DA4-DFF6-C7AA-03126F15A1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845A43-2AB7-DE21-6E43-DFD2133908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10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90C7FB-1781-8B03-995E-98AC4E61DD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986EFFE-A7D4-323E-3AC9-978A54A074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47" imgH="348" progId="TCLayout.ActiveDocument.1">
                  <p:embed/>
                </p:oleObj>
              </mc:Choice>
              <mc:Fallback>
                <p:oleObj name="Diapositiva think-cell" r:id="rId4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9D25CE-0F38-997C-A04E-01A356765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7175542E-47D7-0FED-BFB3-F822AF9E0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l-GR" dirty="0"/>
              <a:t>Πρόταση αξίας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043053-F25A-78CF-8657-D9628F0CD3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ACDEDB-E20F-E4AA-B6C9-2B6C04E440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9513500-CC14-E71D-FA2D-61B9860195A0}"/>
              </a:ext>
            </a:extLst>
          </p:cNvPr>
          <p:cNvSpPr/>
          <p:nvPr/>
        </p:nvSpPr>
        <p:spPr>
          <a:xfrm>
            <a:off x="6607055" y="0"/>
            <a:ext cx="5584945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2" name="Content Placeholder 1">
            <a:extLst>
              <a:ext uri="{FF2B5EF4-FFF2-40B4-BE49-F238E27FC236}">
                <a16:creationId xmlns:a16="http://schemas.microsoft.com/office/drawing/2014/main" id="{CB5AFBCF-1FA6-C6C1-3AC2-C4738C9C80DE}"/>
              </a:ext>
            </a:extLst>
          </p:cNvPr>
          <p:cNvSpPr txBox="1">
            <a:spLocks/>
          </p:cNvSpPr>
          <p:nvPr/>
        </p:nvSpPr>
        <p:spPr>
          <a:xfrm>
            <a:off x="7094293" y="1638013"/>
            <a:ext cx="4242892" cy="6441763"/>
          </a:xfrm>
          <a:prstGeom prst="rect">
            <a:avLst/>
          </a:prstGeom>
        </p:spPr>
        <p:txBody>
          <a:bodyPr vert="horz" wrap="square" lIns="0" tIns="0" rIns="0" bIns="219456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l-GR" b="1" dirty="0">
                <a:solidFill>
                  <a:schemeClr val="accent3"/>
                </a:solidFill>
                <a:latin typeface="+mj-lt"/>
              </a:rPr>
              <a:t>Ασύρματη απορροφητική σκούπα τύπου stick</a:t>
            </a:r>
            <a:r>
              <a:rPr lang="en-US" dirty="0">
                <a:solidFill>
                  <a:schemeClr val="accent3"/>
                </a:solidFill>
                <a:latin typeface="+mj-lt"/>
              </a:rPr>
              <a:t>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l-GR" sz="1100" dirty="0"/>
              <a:t>Ορισμός της κατηγορίας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l-GR" b="1" dirty="0">
                <a:solidFill>
                  <a:schemeClr val="accent3"/>
                </a:solidFill>
                <a:latin typeface="+mj-lt"/>
              </a:rPr>
              <a:t>Άνετα και γρήγορα</a:t>
            </a:r>
            <a:r>
              <a:rPr lang="el-GR" dirty="0">
                <a:solidFill>
                  <a:schemeClr val="accent3"/>
                </a:solidFill>
                <a:latin typeface="+mj-lt"/>
              </a:rPr>
              <a:t> </a:t>
            </a:r>
          </a:p>
          <a:p>
            <a:pPr marL="0" indent="0" algn="l" rtl="0">
              <a:buNone/>
            </a:pPr>
            <a:r>
              <a:rPr lang="el" sz="1100" b="0" i="0" u="none" baseline="0" dirty="0"/>
              <a:t>Εστίαση στα οφέλη για τον πελάτη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l-GR" dirty="0">
              <a:solidFill>
                <a:schemeClr val="accent3"/>
              </a:solidFill>
              <a:latin typeface="+mj-lt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l-GR" b="1" dirty="0">
                <a:solidFill>
                  <a:schemeClr val="accent3"/>
                </a:solidFill>
                <a:latin typeface="+mj-lt"/>
              </a:rPr>
              <a:t>Καθαρισμός σημείων χωρίς διακοπή της ροής εργασίας σας</a:t>
            </a:r>
          </a:p>
          <a:p>
            <a:pPr marL="0" indent="0" algn="l" rtl="0">
              <a:buNone/>
            </a:pPr>
            <a:r>
              <a:rPr lang="el" sz="1100" b="0" i="0" u="none" baseline="0" dirty="0"/>
              <a:t>Σαφής ορισμός της εφαρμογής,</a:t>
            </a:r>
          </a:p>
          <a:p>
            <a:pPr marL="0" indent="0" algn="l" rtl="0">
              <a:buNone/>
            </a:pPr>
            <a:r>
              <a:rPr lang="el" sz="1100" b="0" i="0" u="none" baseline="0" dirty="0"/>
              <a:t>Εστίαση στην αξία της αποδοτικότητας: Χρησιμοποιώντας το VU200, αποφεύγετε να διακόπτετε τη ροή καθαρισμού, καθώς </a:t>
            </a:r>
            <a:br>
              <a:rPr lang="en-US" sz="1100" b="0" i="0" u="none" baseline="0" dirty="0"/>
            </a:br>
            <a:r>
              <a:rPr lang="el" sz="1100" b="0" i="0" u="none" baseline="0" dirty="0"/>
              <a:t>δεν χρειάζεται να συνδέσετε ένα μηχάνημα στην πρίζα, απλώς </a:t>
            </a:r>
            <a:br>
              <a:rPr lang="en-US" sz="1100" b="0" i="0" u="none" baseline="0" dirty="0"/>
            </a:br>
            <a:r>
              <a:rPr lang="el" sz="1100" b="0" i="0" u="none" baseline="0" dirty="0"/>
              <a:t>το παίρνετε και το χρησιμοποιείτε</a:t>
            </a:r>
            <a:r>
              <a:rPr lang="en-US" sz="1100" b="0" i="0" u="none" baseline="0" dirty="0"/>
              <a:t>.</a:t>
            </a:r>
            <a:endParaRPr lang="el" sz="1100" b="0" i="0" u="none" baseline="0" dirty="0"/>
          </a:p>
          <a:p>
            <a:pPr marL="0" indent="0">
              <a:buFont typeface="Arial" panose="020B0604020202020204" pitchFamily="34" charset="0"/>
              <a:buNone/>
            </a:pPr>
            <a:endParaRPr lang="el-GR" dirty="0">
              <a:solidFill>
                <a:schemeClr val="accent3"/>
              </a:solidFill>
              <a:latin typeface="+mj-lt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l-GR" b="1" dirty="0">
                <a:solidFill>
                  <a:schemeClr val="accent3"/>
                </a:solidFill>
                <a:latin typeface="+mj-lt"/>
              </a:rPr>
              <a:t>Πιστοποιημένο για επαγγελματική χρήση </a:t>
            </a:r>
          </a:p>
          <a:p>
            <a:pPr marL="0" indent="0" algn="l" rtl="0">
              <a:buNone/>
            </a:pPr>
            <a:r>
              <a:rPr lang="el" sz="1100" b="0" i="0" u="none" baseline="0" dirty="0"/>
              <a:t>Διαφοροποίηση σε σύγκριση με την έκδοση για καταναλωτές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l-GR" dirty="0">
              <a:solidFill>
                <a:schemeClr val="accent3"/>
              </a:solidFill>
              <a:latin typeface="+mj-lt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l-GR" b="1" dirty="0">
                <a:solidFill>
                  <a:schemeClr val="accent3"/>
                </a:solidFill>
                <a:latin typeface="+mj-lt"/>
              </a:rPr>
              <a:t>Πάντα δίπλα σας</a:t>
            </a:r>
          </a:p>
          <a:p>
            <a:pPr marL="0" indent="0" algn="l" rtl="0">
              <a:buNone/>
            </a:pPr>
            <a:r>
              <a:rPr lang="el" sz="1100" b="0" i="0" u="none" baseline="0" dirty="0"/>
              <a:t>Εστίαση στα κύρια χαρακτηριστικά του προϊόντος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5F06942B-9916-C370-4859-8002AD6DE71F}"/>
              </a:ext>
            </a:extLst>
          </p:cNvPr>
          <p:cNvSpPr txBox="1">
            <a:spLocks/>
          </p:cNvSpPr>
          <p:nvPr/>
        </p:nvSpPr>
        <p:spPr>
          <a:xfrm>
            <a:off x="479424" y="2236154"/>
            <a:ext cx="5272815" cy="5109091"/>
          </a:xfrm>
          <a:prstGeom prst="rect">
            <a:avLst/>
          </a:prstGeom>
        </p:spPr>
        <p:txBody>
          <a:bodyPr vert="horz" wrap="square" lIns="0" tIns="0" rIns="0" bIns="219456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H </a:t>
            </a:r>
            <a:r>
              <a:rPr lang="el" sz="2000" b="1" i="0" u="none" baseline="0" dirty="0">
                <a:latin typeface="+mj-lt"/>
                <a:ea typeface="+mj-lt"/>
                <a:cs typeface="+mj-lt"/>
              </a:rPr>
              <a:t>ασύρματη </a:t>
            </a:r>
            <a:r>
              <a:rPr lang="el" sz="2000" b="1" i="0" u="none" dirty="0">
                <a:latin typeface="+mj-lt"/>
                <a:ea typeface="+mj-lt"/>
                <a:cs typeface="+mj-lt"/>
              </a:rPr>
              <a:t>απορροφητική</a:t>
            </a:r>
            <a:r>
              <a:rPr lang="el" sz="2000" b="1" i="0" u="none" baseline="0" dirty="0">
                <a:latin typeface="+mj-lt"/>
                <a:ea typeface="+mj-lt"/>
                <a:cs typeface="+mj-lt"/>
              </a:rPr>
              <a:t> σκούπα τύπου stick</a:t>
            </a:r>
            <a:r>
              <a:rPr lang="en-US" sz="2000" b="1" dirty="0">
                <a:latin typeface="+mj-lt"/>
              </a:rPr>
              <a:t> </a:t>
            </a:r>
            <a:r>
              <a:rPr lang="el" sz="2000" b="0" i="0" u="none" baseline="0" dirty="0"/>
              <a:t>VU200 επιτρέπει στους επαγγελματίες καθαριστές να </a:t>
            </a:r>
            <a:r>
              <a:rPr lang="el" sz="2000" b="1" i="0" u="none" baseline="0" dirty="0">
                <a:latin typeface="+mj-lt"/>
                <a:ea typeface="+mj-lt"/>
                <a:cs typeface="+mj-lt"/>
              </a:rPr>
              <a:t>καθαρίζουν άνετα και γρήγορα τα διάφορα σημεία, χωρίς να διακόπτουν τη ροή εργασίας τους.</a:t>
            </a:r>
            <a:endParaRPr lang="en-US" sz="2000" b="1" i="0" u="none" baseline="0" dirty="0">
              <a:latin typeface="+mj-lt"/>
              <a:ea typeface="+mj-lt"/>
              <a:cs typeface="+mj-lt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000" u="sng" dirty="0">
              <a:latin typeface="+mj-lt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l-GR" sz="2000" b="1" dirty="0">
                <a:latin typeface="+mj-lt"/>
              </a:rPr>
              <a:t>Πιστοποιημένη για επαγγελματική χρήση </a:t>
            </a:r>
            <a:br>
              <a:rPr lang="en-US" sz="2000" b="1" dirty="0">
                <a:latin typeface="+mj-lt"/>
              </a:rPr>
            </a:br>
            <a:r>
              <a:rPr lang="el-GR" sz="2000" dirty="0">
                <a:latin typeface="Roboto Light (Body)"/>
              </a:rPr>
              <a:t>και</a:t>
            </a:r>
            <a:r>
              <a:rPr lang="el-GR" sz="2000" b="1" dirty="0">
                <a:latin typeface="+mj-lt"/>
              </a:rPr>
              <a:t> πάντα κοντά σας, </a:t>
            </a:r>
            <a:r>
              <a:rPr lang="el-GR" sz="2000" dirty="0"/>
              <a:t>παρέχει προηγμένο φιλτράρισμα, είναι ισχυρή και εύχρηστη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57517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49080-E5F5-6955-F750-3E7D14B985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021FB-183B-31FC-0A3F-8CCC8DFDF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l-GR" dirty="0"/>
              <a:t>Κύριες περιοχές εφαρμογών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17E9F6-3C7F-0151-2A25-86C727D4D0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718A95-10DF-D576-3447-136CD6FC81F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976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478256B-B963-85FF-C3EC-5DD641035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Το προϊόν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03F844-C426-7790-6B11-D44D4BEB397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vi-VN"/>
              <a:t>VU200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C8AB8B-5BDD-ABF8-0A08-CA041B4C01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6FE912-C082-2F24-2A30-9C39B323451D}"/>
              </a:ext>
            </a:extLst>
          </p:cNvPr>
          <p:cNvSpPr txBox="1"/>
          <p:nvPr/>
        </p:nvSpPr>
        <p:spPr>
          <a:xfrm>
            <a:off x="480155" y="1412875"/>
            <a:ext cx="4742358" cy="23501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l-GR" sz="1800" b="1" dirty="0">
                <a:latin typeface="+mj-lt"/>
              </a:rPr>
              <a:t>Εύκολος καθαρισμός σημείων </a:t>
            </a:r>
            <a:br>
              <a:rPr lang="en-US" sz="1800" b="1" dirty="0">
                <a:latin typeface="+mj-lt"/>
              </a:rPr>
            </a:br>
            <a:r>
              <a:rPr lang="el-GR" sz="1800" b="1" dirty="0">
                <a:latin typeface="+mj-lt"/>
              </a:rPr>
              <a:t>για επαγγελματίες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l-GR" sz="1400" dirty="0"/>
              <a:t>Εκσυγχρονίστε τις διαδικασίες καθαρισμού με το VU200: μια ισχυρή, ευέλικτη απορροφητική </a:t>
            </a:r>
            <a:r>
              <a:rPr lang="el-GR" sz="1400"/>
              <a:t>σκούπα τύπου stick πιστοποιημένη </a:t>
            </a:r>
            <a:r>
              <a:rPr lang="el-GR" sz="1400" dirty="0"/>
              <a:t>για επαγγελματική χρήση 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l-GR" sz="1400" dirty="0"/>
              <a:t>Εξοπλισμένο με μπαταρία ιόντων λιθίου και ειδικά σχεδιασμένο για εύκολο καθαρισμό σημείων, το VU200 είναι ελαφρύ, </a:t>
            </a:r>
            <a:r>
              <a:rPr lang="el-GR" sz="1400"/>
              <a:t>άνετο και </a:t>
            </a:r>
            <a:r>
              <a:rPr lang="el-GR" sz="1400" dirty="0"/>
              <a:t>βολικό</a:t>
            </a:r>
          </a:p>
        </p:txBody>
      </p:sp>
      <p:pic>
        <p:nvPicPr>
          <p:cNvPr id="2" name="Picture Placeholder 7" descr="A vacuum cleaner on a black background&#10;&#10;Description automatically generated">
            <a:extLst>
              <a:ext uri="{FF2B5EF4-FFF2-40B4-BE49-F238E27FC236}">
                <a16:creationId xmlns:a16="http://schemas.microsoft.com/office/drawing/2014/main" id="{A0120DD2-D2E1-F6D5-E0A9-74F47BA5D3C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185" r="12159"/>
          <a:stretch/>
        </p:blipFill>
        <p:spPr>
          <a:xfrm>
            <a:off x="6605016" y="-55002"/>
            <a:ext cx="5586984" cy="632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531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A931B90-BDED-2EC2-BD6A-CA79E400191B}"/>
              </a:ext>
            </a:extLst>
          </p:cNvPr>
          <p:cNvSpPr txBox="1">
            <a:spLocks/>
          </p:cNvSpPr>
          <p:nvPr/>
        </p:nvSpPr>
        <p:spPr>
          <a:xfrm>
            <a:off x="8129488" y="4307838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dirty="0"/>
              <a:t>Δημόσια διοίκηση και γραφεία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367258-2D22-BD88-0C0C-A0937512487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7F9A4F-2F2C-3B77-3B82-1BE269B42C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6" name="Content Placeholder 1">
            <a:extLst>
              <a:ext uri="{FF2B5EF4-FFF2-40B4-BE49-F238E27FC236}">
                <a16:creationId xmlns:a16="http://schemas.microsoft.com/office/drawing/2014/main" id="{65531487-FB54-E59F-89DD-CEDDF3C76B1E}"/>
              </a:ext>
            </a:extLst>
          </p:cNvPr>
          <p:cNvSpPr txBox="1">
            <a:spLocks/>
          </p:cNvSpPr>
          <p:nvPr/>
        </p:nvSpPr>
        <p:spPr>
          <a:xfrm>
            <a:off x="485774" y="1700662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dirty="0"/>
              <a:t>Εργολάβοι καθαρισμού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04A75E69-3F2C-A092-50EF-178FCA9525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el-GR" dirty="0"/>
              <a:t>Κύριοι πελάτες | </a:t>
            </a:r>
            <a:r>
              <a:rPr lang="da-DK" dirty="0"/>
              <a:t>CC&amp;I</a:t>
            </a:r>
          </a:p>
        </p:txBody>
      </p:sp>
      <p:sp>
        <p:nvSpPr>
          <p:cNvPr id="28" name="Title 12">
            <a:extLst>
              <a:ext uri="{FF2B5EF4-FFF2-40B4-BE49-F238E27FC236}">
                <a16:creationId xmlns:a16="http://schemas.microsoft.com/office/drawing/2014/main" id="{0EA9AF8E-35DE-47CE-E504-52AC68CAC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 vert="horz"/>
          <a:lstStyle/>
          <a:p>
            <a:r>
              <a:rPr lang="el-GR" dirty="0"/>
              <a:t>Τομείς στόχοι </a:t>
            </a:r>
            <a:endParaRPr lang="en-US" dirty="0"/>
          </a:p>
        </p:txBody>
      </p:sp>
      <p:sp>
        <p:nvSpPr>
          <p:cNvPr id="29" name="Content Placeholder 1">
            <a:extLst>
              <a:ext uri="{FF2B5EF4-FFF2-40B4-BE49-F238E27FC236}">
                <a16:creationId xmlns:a16="http://schemas.microsoft.com/office/drawing/2014/main" id="{8B77A281-0965-AB65-06F4-FB1E483F6B70}"/>
              </a:ext>
            </a:extLst>
          </p:cNvPr>
          <p:cNvSpPr txBox="1">
            <a:spLocks/>
          </p:cNvSpPr>
          <p:nvPr/>
        </p:nvSpPr>
        <p:spPr>
          <a:xfrm>
            <a:off x="4328885" y="1709608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dirty="0"/>
              <a:t>Ιδρύματα</a:t>
            </a:r>
          </a:p>
        </p:txBody>
      </p:sp>
      <p:sp>
        <p:nvSpPr>
          <p:cNvPr id="30" name="Content Placeholder 1">
            <a:extLst>
              <a:ext uri="{FF2B5EF4-FFF2-40B4-BE49-F238E27FC236}">
                <a16:creationId xmlns:a16="http://schemas.microsoft.com/office/drawing/2014/main" id="{85CE48DB-D73F-3F08-CBDA-8272E2CF4068}"/>
              </a:ext>
            </a:extLst>
          </p:cNvPr>
          <p:cNvSpPr txBox="1">
            <a:spLocks/>
          </p:cNvSpPr>
          <p:nvPr/>
        </p:nvSpPr>
        <p:spPr>
          <a:xfrm>
            <a:off x="8129488" y="1709608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dirty="0"/>
              <a:t>Φιλοξενία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8C78734-C080-31D3-5CDF-31799C23899D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476" b="6230"/>
          <a:stretch/>
        </p:blipFill>
        <p:spPr>
          <a:xfrm>
            <a:off x="485774" y="1412875"/>
            <a:ext cx="3474720" cy="169785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891A453B-37E5-A5A7-6C41-6EB816244FD0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051" b="1119"/>
          <a:stretch/>
        </p:blipFill>
        <p:spPr>
          <a:xfrm>
            <a:off x="4328885" y="1423649"/>
            <a:ext cx="3474720" cy="168708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5D304B9-1BA0-FF78-7EDC-6CFB55CFE59A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347" b="823"/>
          <a:stretch/>
        </p:blipFill>
        <p:spPr>
          <a:xfrm>
            <a:off x="8129488" y="4021878"/>
            <a:ext cx="3474720" cy="1687084"/>
          </a:xfrm>
          <a:prstGeom prst="rect">
            <a:avLst/>
          </a:prstGeom>
        </p:spPr>
      </p:pic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4F0CEB8A-FBCD-263B-C3C1-CA46D526FC46}"/>
              </a:ext>
            </a:extLst>
          </p:cNvPr>
          <p:cNvSpPr txBox="1">
            <a:spLocks/>
          </p:cNvSpPr>
          <p:nvPr/>
        </p:nvSpPr>
        <p:spPr>
          <a:xfrm>
            <a:off x="485774" y="4307840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dirty="0"/>
              <a:t>Εκπαίδευση</a:t>
            </a:r>
          </a:p>
        </p:txBody>
      </p:sp>
      <p:sp>
        <p:nvSpPr>
          <p:cNvPr id="37" name="Content Placeholder 1">
            <a:extLst>
              <a:ext uri="{FF2B5EF4-FFF2-40B4-BE49-F238E27FC236}">
                <a16:creationId xmlns:a16="http://schemas.microsoft.com/office/drawing/2014/main" id="{0272F387-A5C9-0F13-2592-28A8BB34C431}"/>
              </a:ext>
            </a:extLst>
          </p:cNvPr>
          <p:cNvSpPr txBox="1">
            <a:spLocks/>
          </p:cNvSpPr>
          <p:nvPr/>
        </p:nvSpPr>
        <p:spPr>
          <a:xfrm>
            <a:off x="4328885" y="4307840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l-GR" dirty="0"/>
              <a:t>Λιανική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A7DB9A5-C964-2893-B959-3C0681C7E39D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08" r="8808"/>
          <a:stretch/>
        </p:blipFill>
        <p:spPr>
          <a:xfrm>
            <a:off x="485774" y="4021881"/>
            <a:ext cx="3474720" cy="1687084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9C7793F9-41D5-AFAC-D0B7-3EB2019965C4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701" b="11549"/>
          <a:stretch/>
        </p:blipFill>
        <p:spPr>
          <a:xfrm>
            <a:off x="4328885" y="4021878"/>
            <a:ext cx="3474720" cy="1687084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7EDBDFA1-4866-757C-C048-E29E17ED3D06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886" b="2982"/>
          <a:stretch/>
        </p:blipFill>
        <p:spPr>
          <a:xfrm>
            <a:off x="8129488" y="1422468"/>
            <a:ext cx="3474720" cy="1694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24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79B7AB-1669-7DA2-187C-F79F923052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566A046-E889-899A-54F9-72915CA71D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Εργασίες καθαρισμού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22002C-03AF-1317-5947-10CAD4EBEE0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5FF172-5DC1-A44A-EEEC-0E397FAE4A1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12" name="Table 6">
            <a:extLst>
              <a:ext uri="{FF2B5EF4-FFF2-40B4-BE49-F238E27FC236}">
                <a16:creationId xmlns:a16="http://schemas.microsoft.com/office/drawing/2014/main" id="{8CF62ED9-219E-EDA2-F708-73AD79D37E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9929891"/>
              </p:ext>
            </p:extLst>
          </p:nvPr>
        </p:nvGraphicFramePr>
        <p:xfrm>
          <a:off x="475522" y="1412875"/>
          <a:ext cx="11237054" cy="3566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29267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  <a:gridCol w="1816274">
                  <a:extLst>
                    <a:ext uri="{9D8B030D-6E8A-4147-A177-3AD203B41FA5}">
                      <a16:colId xmlns:a16="http://schemas.microsoft.com/office/drawing/2014/main" val="361268256"/>
                    </a:ext>
                  </a:extLst>
                </a:gridCol>
                <a:gridCol w="1860115">
                  <a:extLst>
                    <a:ext uri="{9D8B030D-6E8A-4147-A177-3AD203B41FA5}">
                      <a16:colId xmlns:a16="http://schemas.microsoft.com/office/drawing/2014/main" val="1098600469"/>
                    </a:ext>
                  </a:extLst>
                </a:gridCol>
                <a:gridCol w="1847589">
                  <a:extLst>
                    <a:ext uri="{9D8B030D-6E8A-4147-A177-3AD203B41FA5}">
                      <a16:colId xmlns:a16="http://schemas.microsoft.com/office/drawing/2014/main" val="146509780"/>
                    </a:ext>
                  </a:extLst>
                </a:gridCol>
                <a:gridCol w="1979112">
                  <a:extLst>
                    <a:ext uri="{9D8B030D-6E8A-4147-A177-3AD203B41FA5}">
                      <a16:colId xmlns:a16="http://schemas.microsoft.com/office/drawing/2014/main" val="3172478151"/>
                    </a:ext>
                  </a:extLst>
                </a:gridCol>
                <a:gridCol w="1904697">
                  <a:extLst>
                    <a:ext uri="{9D8B030D-6E8A-4147-A177-3AD203B41FA5}">
                      <a16:colId xmlns:a16="http://schemas.microsoft.com/office/drawing/2014/main" val="1699252910"/>
                    </a:ext>
                  </a:extLst>
                </a:gridCol>
              </a:tblGrid>
              <a:tr h="396240">
                <a:tc>
                  <a:txBody>
                    <a:bodyPr/>
                    <a:lstStyle/>
                    <a:p>
                      <a:pPr algn="l" rtl="0"/>
                      <a:endParaRPr lang="el" sz="1100" baseline="0" dirty="0">
                        <a:effectLst/>
                        <a:latin typeface="Roboto Bold" panose="02000000000000000000" pitchFamily="2" charset="0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1" i="0" u="none" baseline="0" dirty="0"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Roboto Bold" panose="02000000000000000000" pitchFamily="2" charset="0"/>
                        </a:rPr>
                        <a:t>Καθαρισμός σκόνης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1" i="0" u="none" baseline="0" dirty="0">
                          <a:effectLst/>
                          <a:latin typeface="Roboto Bold" panose="02000000000000000000" pitchFamily="2" charset="0"/>
                          <a:ea typeface="Calibri" panose="020F0502020204030204" pitchFamily="34" charset="0"/>
                        </a:rPr>
                        <a:t>Καθαρισμός επίπλων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1" i="0" u="none" baseline="0">
                          <a:effectLst/>
                          <a:latin typeface="Roboto Bold" panose="02000000000000000000" pitchFamily="2" charset="0"/>
                          <a:ea typeface="Calibri" panose="020F0502020204030204" pitchFamily="34" charset="0"/>
                        </a:rPr>
                        <a:t>Καθαρισμός σημείων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1" i="0" u="none" baseline="0">
                          <a:effectLst/>
                          <a:latin typeface="Roboto Bold" panose="02000000000000000000" pitchFamily="2" charset="0"/>
                          <a:ea typeface="Calibri" panose="020F0502020204030204" pitchFamily="34" charset="0"/>
                        </a:rPr>
                        <a:t>Καθημερινός καθαρισμός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100" b="1" i="0" u="none" baseline="0" dirty="0">
                          <a:effectLst/>
                          <a:latin typeface="Roboto Bold" panose="02000000000000000000" pitchFamily="2" charset="0"/>
                          <a:ea typeface="Calibri" panose="020F0502020204030204" pitchFamily="34" charset="0"/>
                        </a:rPr>
                        <a:t>Βαθύς καθαρισμός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2679006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 rtl="0"/>
                      <a:r>
                        <a:rPr lang="el" sz="1100" b="0" i="0" u="none" baseline="0">
                          <a:effectLst/>
                        </a:rPr>
                        <a:t>Εύκαμπτος σωλήνας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344491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 rtl="0"/>
                      <a:r>
                        <a:rPr lang="el" sz="1100" b="0" i="0" u="none" baseline="0">
                          <a:effectLst/>
                        </a:rPr>
                        <a:t>Συνδυαστική βούρτσα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8059517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 rtl="0"/>
                      <a:r>
                        <a:rPr lang="el" sz="1100" b="0" i="0" u="none" baseline="0">
                          <a:effectLst/>
                        </a:rPr>
                        <a:t>Βούρτσα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4404485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 rtl="0"/>
                      <a:r>
                        <a:rPr lang="el" sz="1100" b="0" i="0" u="none" baseline="0">
                          <a:effectLst/>
                        </a:rPr>
                        <a:t>Εργαλείο για χαραμάδες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2955974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 rtl="0"/>
                      <a:r>
                        <a:rPr lang="el" sz="1100" b="0" i="0" u="none" baseline="0">
                          <a:effectLst/>
                        </a:rPr>
                        <a:t>Βούρτσα για καναπέ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683361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 rtl="0"/>
                      <a:r>
                        <a:rPr lang="el" sz="1100" b="0" i="0" u="none" baseline="0">
                          <a:effectLst/>
                        </a:rPr>
                        <a:t>Ενεργή βούρτσα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7948833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 rtl="0"/>
                      <a:r>
                        <a:rPr lang="el" sz="1100" b="0" i="0" u="none" baseline="0">
                          <a:effectLst/>
                        </a:rPr>
                        <a:t>Ράουλα σκληρού δαπέδου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8441183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 rtl="0"/>
                      <a:r>
                        <a:rPr lang="el" sz="1100" b="0" i="0" u="none" baseline="0" dirty="0">
                          <a:effectLst/>
                        </a:rPr>
                        <a:t>Ράουλα μοκέτας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3760434"/>
                  </a:ext>
                </a:extLst>
              </a:tr>
            </a:tbl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5D33201D-1C0F-6755-9E33-D0BA84EF92EF}"/>
              </a:ext>
            </a:extLst>
          </p:cNvPr>
          <p:cNvSpPr>
            <a:spLocks noChangeAspect="1"/>
          </p:cNvSpPr>
          <p:nvPr/>
        </p:nvSpPr>
        <p:spPr>
          <a:xfrm>
            <a:off x="4899775" y="305770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D62B1F3-4361-93D9-BFA5-7AF717E0516A}"/>
              </a:ext>
            </a:extLst>
          </p:cNvPr>
          <p:cNvSpPr>
            <a:spLocks noChangeAspect="1"/>
          </p:cNvSpPr>
          <p:nvPr/>
        </p:nvSpPr>
        <p:spPr>
          <a:xfrm>
            <a:off x="3046111" y="226432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0FCD46B-C81D-9904-3DD2-3C44BA299575}"/>
              </a:ext>
            </a:extLst>
          </p:cNvPr>
          <p:cNvSpPr>
            <a:spLocks noChangeAspect="1"/>
          </p:cNvSpPr>
          <p:nvPr/>
        </p:nvSpPr>
        <p:spPr>
          <a:xfrm>
            <a:off x="4899775" y="3454675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33A3F40-905C-FC06-01E4-8C7B614CCDF8}"/>
              </a:ext>
            </a:extLst>
          </p:cNvPr>
          <p:cNvSpPr>
            <a:spLocks noChangeAspect="1"/>
          </p:cNvSpPr>
          <p:nvPr/>
        </p:nvSpPr>
        <p:spPr>
          <a:xfrm>
            <a:off x="3046111" y="266183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2347797-5B09-8371-D147-BB6BD00AC46D}"/>
              </a:ext>
            </a:extLst>
          </p:cNvPr>
          <p:cNvSpPr>
            <a:spLocks noChangeAspect="1"/>
          </p:cNvSpPr>
          <p:nvPr/>
        </p:nvSpPr>
        <p:spPr>
          <a:xfrm>
            <a:off x="6746217" y="425220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5EFBB2B-8396-D237-3AAA-E408A2BEA31D}"/>
              </a:ext>
            </a:extLst>
          </p:cNvPr>
          <p:cNvSpPr>
            <a:spLocks noChangeAspect="1"/>
          </p:cNvSpPr>
          <p:nvPr/>
        </p:nvSpPr>
        <p:spPr>
          <a:xfrm>
            <a:off x="6746217" y="4649765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91785E6-4802-BBF2-4876-B6DB322A522B}"/>
              </a:ext>
            </a:extLst>
          </p:cNvPr>
          <p:cNvSpPr>
            <a:spLocks noChangeAspect="1"/>
          </p:cNvSpPr>
          <p:nvPr/>
        </p:nvSpPr>
        <p:spPr>
          <a:xfrm>
            <a:off x="4899775" y="186681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CCBA328-1A72-0660-4459-9E08937DD89F}"/>
              </a:ext>
            </a:extLst>
          </p:cNvPr>
          <p:cNvSpPr>
            <a:spLocks noChangeAspect="1"/>
          </p:cNvSpPr>
          <p:nvPr/>
        </p:nvSpPr>
        <p:spPr>
          <a:xfrm>
            <a:off x="3046111" y="186681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A5DBF40-1C41-62AA-6991-80CB0D2D2857}"/>
              </a:ext>
            </a:extLst>
          </p:cNvPr>
          <p:cNvSpPr>
            <a:spLocks noChangeAspect="1"/>
          </p:cNvSpPr>
          <p:nvPr/>
        </p:nvSpPr>
        <p:spPr>
          <a:xfrm>
            <a:off x="4899775" y="385164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AC6AD71-3FE9-9952-5369-E58F71EE874B}"/>
              </a:ext>
            </a:extLst>
          </p:cNvPr>
          <p:cNvGrpSpPr/>
          <p:nvPr/>
        </p:nvGrpSpPr>
        <p:grpSpPr>
          <a:xfrm>
            <a:off x="8650392" y="4252201"/>
            <a:ext cx="274320" cy="274320"/>
            <a:chOff x="2785824" y="4061651"/>
            <a:chExt cx="274320" cy="27432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783380D7-24F3-518F-98AF-C4D53B85FB8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18" name="Partial Circle 17">
              <a:extLst>
                <a:ext uri="{FF2B5EF4-FFF2-40B4-BE49-F238E27FC236}">
                  <a16:creationId xmlns:a16="http://schemas.microsoft.com/office/drawing/2014/main" id="{702B0E8D-B809-F0C9-A5B9-9F89330285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F835C78-85F5-7B30-623C-9DEB8561BBE7}"/>
              </a:ext>
            </a:extLst>
          </p:cNvPr>
          <p:cNvGrpSpPr/>
          <p:nvPr/>
        </p:nvGrpSpPr>
        <p:grpSpPr>
          <a:xfrm>
            <a:off x="8650392" y="4649765"/>
            <a:ext cx="274320" cy="274320"/>
            <a:chOff x="2785824" y="4061651"/>
            <a:chExt cx="274320" cy="27432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E4C9BEFF-53C6-1126-B362-3B37726AD9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21" name="Partial Circle 20">
              <a:extLst>
                <a:ext uri="{FF2B5EF4-FFF2-40B4-BE49-F238E27FC236}">
                  <a16:creationId xmlns:a16="http://schemas.microsoft.com/office/drawing/2014/main" id="{0ED669D2-F0AE-CBC9-B25E-8633531B48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22" name="Oval 21">
            <a:extLst>
              <a:ext uri="{FF2B5EF4-FFF2-40B4-BE49-F238E27FC236}">
                <a16:creationId xmlns:a16="http://schemas.microsoft.com/office/drawing/2014/main" id="{466259A4-507A-C2DD-8AB8-9FB1AF284CA8}"/>
              </a:ext>
            </a:extLst>
          </p:cNvPr>
          <p:cNvSpPr>
            <a:spLocks noChangeAspect="1"/>
          </p:cNvSpPr>
          <p:nvPr/>
        </p:nvSpPr>
        <p:spPr>
          <a:xfrm>
            <a:off x="10586391" y="4250377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C516F38-D5E8-C3BA-8515-D73847A5222B}"/>
              </a:ext>
            </a:extLst>
          </p:cNvPr>
          <p:cNvSpPr>
            <a:spLocks noChangeAspect="1"/>
          </p:cNvSpPr>
          <p:nvPr/>
        </p:nvSpPr>
        <p:spPr>
          <a:xfrm>
            <a:off x="10586391" y="4647639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CBEBE39-5CA0-91B1-21E9-D8285354EB0E}"/>
              </a:ext>
            </a:extLst>
          </p:cNvPr>
          <p:cNvSpPr>
            <a:spLocks noChangeAspect="1"/>
          </p:cNvSpPr>
          <p:nvPr/>
        </p:nvSpPr>
        <p:spPr>
          <a:xfrm>
            <a:off x="6746217" y="305950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847C56F7-1F9B-70A6-11D5-8C4DD4F6A057}"/>
              </a:ext>
            </a:extLst>
          </p:cNvPr>
          <p:cNvSpPr>
            <a:spLocks noChangeAspect="1"/>
          </p:cNvSpPr>
          <p:nvPr/>
        </p:nvSpPr>
        <p:spPr>
          <a:xfrm>
            <a:off x="8650392" y="305950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2961F90-F23D-9AF0-002F-EF807C1DDED7}"/>
              </a:ext>
            </a:extLst>
          </p:cNvPr>
          <p:cNvSpPr>
            <a:spLocks noChangeAspect="1"/>
          </p:cNvSpPr>
          <p:nvPr/>
        </p:nvSpPr>
        <p:spPr>
          <a:xfrm>
            <a:off x="10586391" y="3058594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DDEBF10-F90E-0440-027F-5D29838D36CF}"/>
              </a:ext>
            </a:extLst>
          </p:cNvPr>
          <p:cNvSpPr>
            <a:spLocks noChangeAspect="1"/>
          </p:cNvSpPr>
          <p:nvPr/>
        </p:nvSpPr>
        <p:spPr>
          <a:xfrm>
            <a:off x="6746217" y="226437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33851C4-8792-2B70-65AE-4DF5EED01D5A}"/>
              </a:ext>
            </a:extLst>
          </p:cNvPr>
          <p:cNvSpPr>
            <a:spLocks noChangeAspect="1"/>
          </p:cNvSpPr>
          <p:nvPr/>
        </p:nvSpPr>
        <p:spPr>
          <a:xfrm>
            <a:off x="8650392" y="226437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FAC241C-2896-C124-67D2-A4678709B163}"/>
              </a:ext>
            </a:extLst>
          </p:cNvPr>
          <p:cNvSpPr>
            <a:spLocks noChangeAspect="1"/>
          </p:cNvSpPr>
          <p:nvPr/>
        </p:nvSpPr>
        <p:spPr>
          <a:xfrm>
            <a:off x="10586391" y="2264072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EEA8D7A-060C-6B75-D4C4-2C5B536C1105}"/>
              </a:ext>
            </a:extLst>
          </p:cNvPr>
          <p:cNvGrpSpPr/>
          <p:nvPr/>
        </p:nvGrpSpPr>
        <p:grpSpPr>
          <a:xfrm>
            <a:off x="4899775" y="2263777"/>
            <a:ext cx="274320" cy="274320"/>
            <a:chOff x="3283059" y="5490082"/>
            <a:chExt cx="274320" cy="27432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C453FA7-EE4F-22C1-23D7-9580D1BF9D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ellipse">
              <a:avLst/>
            </a:prstGeom>
            <a:solidFill>
              <a:srgbClr val="38AF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32" name="Partial Circle 31">
              <a:extLst>
                <a:ext uri="{FF2B5EF4-FFF2-40B4-BE49-F238E27FC236}">
                  <a16:creationId xmlns:a16="http://schemas.microsoft.com/office/drawing/2014/main" id="{D6081867-60A2-7CB3-79DA-9DC5878BCB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pie">
              <a:avLst/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33" name="Oval 32">
            <a:extLst>
              <a:ext uri="{FF2B5EF4-FFF2-40B4-BE49-F238E27FC236}">
                <a16:creationId xmlns:a16="http://schemas.microsoft.com/office/drawing/2014/main" id="{586EDEDD-4F52-10C4-4965-46128786CD30}"/>
              </a:ext>
            </a:extLst>
          </p:cNvPr>
          <p:cNvSpPr>
            <a:spLocks noChangeAspect="1"/>
          </p:cNvSpPr>
          <p:nvPr/>
        </p:nvSpPr>
        <p:spPr>
          <a:xfrm>
            <a:off x="3046111" y="345685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37FC656-15E5-BF5C-8960-EE1A7C0ECACB}"/>
              </a:ext>
            </a:extLst>
          </p:cNvPr>
          <p:cNvSpPr>
            <a:spLocks noChangeAspect="1"/>
          </p:cNvSpPr>
          <p:nvPr/>
        </p:nvSpPr>
        <p:spPr>
          <a:xfrm>
            <a:off x="8650392" y="345707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0B3290E-1132-00B5-09E7-5A267E4C1061}"/>
              </a:ext>
            </a:extLst>
          </p:cNvPr>
          <p:cNvSpPr>
            <a:spLocks noChangeAspect="1"/>
          </p:cNvSpPr>
          <p:nvPr/>
        </p:nvSpPr>
        <p:spPr>
          <a:xfrm>
            <a:off x="10586391" y="3455855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570317E6-FB33-242D-CEB8-28286624BDF7}"/>
              </a:ext>
            </a:extLst>
          </p:cNvPr>
          <p:cNvSpPr>
            <a:spLocks noChangeAspect="1"/>
          </p:cNvSpPr>
          <p:nvPr/>
        </p:nvSpPr>
        <p:spPr>
          <a:xfrm>
            <a:off x="6746217" y="266194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4F47600-A920-81B1-536A-28298E40D00C}"/>
              </a:ext>
            </a:extLst>
          </p:cNvPr>
          <p:cNvSpPr>
            <a:spLocks noChangeAspect="1"/>
          </p:cNvSpPr>
          <p:nvPr/>
        </p:nvSpPr>
        <p:spPr>
          <a:xfrm>
            <a:off x="8650392" y="266194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7CF127F-5A05-CA3E-8A97-43E4395AFA97}"/>
              </a:ext>
            </a:extLst>
          </p:cNvPr>
          <p:cNvSpPr>
            <a:spLocks noChangeAspect="1"/>
          </p:cNvSpPr>
          <p:nvPr/>
        </p:nvSpPr>
        <p:spPr>
          <a:xfrm>
            <a:off x="10586391" y="2661333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A30BF10-7A33-CC91-4107-CA85E2C667B5}"/>
              </a:ext>
            </a:extLst>
          </p:cNvPr>
          <p:cNvGrpSpPr/>
          <p:nvPr/>
        </p:nvGrpSpPr>
        <p:grpSpPr>
          <a:xfrm>
            <a:off x="4899775" y="2660743"/>
            <a:ext cx="274320" cy="274320"/>
            <a:chOff x="3283059" y="5490082"/>
            <a:chExt cx="274320" cy="27432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217838CE-805F-CADD-2550-0176AC6F04D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ellipse">
              <a:avLst/>
            </a:prstGeom>
            <a:solidFill>
              <a:srgbClr val="38AF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41" name="Partial Circle 40">
              <a:extLst>
                <a:ext uri="{FF2B5EF4-FFF2-40B4-BE49-F238E27FC236}">
                  <a16:creationId xmlns:a16="http://schemas.microsoft.com/office/drawing/2014/main" id="{5822DDF4-46A0-8920-91F9-992A4718CD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pie">
              <a:avLst/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42" name="Oval 41">
            <a:extLst>
              <a:ext uri="{FF2B5EF4-FFF2-40B4-BE49-F238E27FC236}">
                <a16:creationId xmlns:a16="http://schemas.microsoft.com/office/drawing/2014/main" id="{AAA95063-5253-5683-381A-0B39C1BAD48F}"/>
              </a:ext>
            </a:extLst>
          </p:cNvPr>
          <p:cNvSpPr>
            <a:spLocks noChangeAspect="1"/>
          </p:cNvSpPr>
          <p:nvPr/>
        </p:nvSpPr>
        <p:spPr>
          <a:xfrm>
            <a:off x="3046111" y="425187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9A264DC-4C2E-AEF8-862A-DFB7EA00E5B0}"/>
              </a:ext>
            </a:extLst>
          </p:cNvPr>
          <p:cNvSpPr>
            <a:spLocks noChangeAspect="1"/>
          </p:cNvSpPr>
          <p:nvPr/>
        </p:nvSpPr>
        <p:spPr>
          <a:xfrm>
            <a:off x="4899775" y="4248607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1D4EA10C-89F4-2EFC-C08F-B383DC1813F6}"/>
              </a:ext>
            </a:extLst>
          </p:cNvPr>
          <p:cNvSpPr>
            <a:spLocks noChangeAspect="1"/>
          </p:cNvSpPr>
          <p:nvPr/>
        </p:nvSpPr>
        <p:spPr>
          <a:xfrm>
            <a:off x="3046111" y="4649380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4741D25E-B618-D779-BF13-0EFDB484E7D1}"/>
              </a:ext>
            </a:extLst>
          </p:cNvPr>
          <p:cNvSpPr>
            <a:spLocks noChangeAspect="1"/>
          </p:cNvSpPr>
          <p:nvPr/>
        </p:nvSpPr>
        <p:spPr>
          <a:xfrm>
            <a:off x="4899775" y="464557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0D7857F-C7D6-D93D-5839-8338C9E0D6AA}"/>
              </a:ext>
            </a:extLst>
          </p:cNvPr>
          <p:cNvSpPr>
            <a:spLocks noChangeAspect="1"/>
          </p:cNvSpPr>
          <p:nvPr/>
        </p:nvSpPr>
        <p:spPr>
          <a:xfrm>
            <a:off x="6746217" y="345707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8B37297-60F1-A62F-ECC0-D1F9CF124686}"/>
              </a:ext>
            </a:extLst>
          </p:cNvPr>
          <p:cNvGrpSpPr/>
          <p:nvPr/>
        </p:nvGrpSpPr>
        <p:grpSpPr>
          <a:xfrm>
            <a:off x="6746217" y="3854636"/>
            <a:ext cx="274320" cy="274320"/>
            <a:chOff x="2785824" y="4061651"/>
            <a:chExt cx="274320" cy="27432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8A5620B-F026-AD23-223E-1F65D18E45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49" name="Partial Circle 48">
              <a:extLst>
                <a:ext uri="{FF2B5EF4-FFF2-40B4-BE49-F238E27FC236}">
                  <a16:creationId xmlns:a16="http://schemas.microsoft.com/office/drawing/2014/main" id="{ECA71B79-1C81-B96F-0DD3-B6D8881FEE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50" name="Oval 49">
            <a:extLst>
              <a:ext uri="{FF2B5EF4-FFF2-40B4-BE49-F238E27FC236}">
                <a16:creationId xmlns:a16="http://schemas.microsoft.com/office/drawing/2014/main" id="{F54EA724-C197-2FF2-AE37-ECB86A8A74EF}"/>
              </a:ext>
            </a:extLst>
          </p:cNvPr>
          <p:cNvSpPr>
            <a:spLocks noChangeAspect="1"/>
          </p:cNvSpPr>
          <p:nvPr/>
        </p:nvSpPr>
        <p:spPr>
          <a:xfrm>
            <a:off x="3046111" y="385436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FE748627-F241-AC36-B215-E42272C45928}"/>
              </a:ext>
            </a:extLst>
          </p:cNvPr>
          <p:cNvSpPr>
            <a:spLocks noChangeAspect="1"/>
          </p:cNvSpPr>
          <p:nvPr/>
        </p:nvSpPr>
        <p:spPr>
          <a:xfrm>
            <a:off x="6746217" y="186681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794D0A67-FA80-8AA7-6CD2-1A61C69BF42E}"/>
              </a:ext>
            </a:extLst>
          </p:cNvPr>
          <p:cNvSpPr>
            <a:spLocks noChangeAspect="1"/>
          </p:cNvSpPr>
          <p:nvPr/>
        </p:nvSpPr>
        <p:spPr>
          <a:xfrm>
            <a:off x="8650392" y="186681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8FC6B5B5-3E58-03B5-6E33-3D1C808A37C6}"/>
              </a:ext>
            </a:extLst>
          </p:cNvPr>
          <p:cNvSpPr>
            <a:spLocks noChangeAspect="1"/>
          </p:cNvSpPr>
          <p:nvPr/>
        </p:nvSpPr>
        <p:spPr>
          <a:xfrm>
            <a:off x="10586391" y="186681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77E68977-5B3F-4951-BB5F-B3E827B39377}"/>
              </a:ext>
            </a:extLst>
          </p:cNvPr>
          <p:cNvSpPr>
            <a:spLocks noChangeAspect="1"/>
          </p:cNvSpPr>
          <p:nvPr/>
        </p:nvSpPr>
        <p:spPr>
          <a:xfrm>
            <a:off x="8650392" y="385463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4CF9096-A820-F394-210C-9CBAF33B298D}"/>
              </a:ext>
            </a:extLst>
          </p:cNvPr>
          <p:cNvSpPr>
            <a:spLocks noChangeAspect="1"/>
          </p:cNvSpPr>
          <p:nvPr/>
        </p:nvSpPr>
        <p:spPr>
          <a:xfrm>
            <a:off x="10586391" y="385311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55A6A15-97AC-DCE0-A956-27C73776B2F5}"/>
              </a:ext>
            </a:extLst>
          </p:cNvPr>
          <p:cNvGrpSpPr/>
          <p:nvPr/>
        </p:nvGrpSpPr>
        <p:grpSpPr>
          <a:xfrm>
            <a:off x="3046111" y="3059341"/>
            <a:ext cx="274320" cy="274320"/>
            <a:chOff x="2785824" y="4061651"/>
            <a:chExt cx="274320" cy="27432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262A03A7-317B-CD1C-B2EF-A25A3F0F26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58" name="Partial Circle 57">
              <a:extLst>
                <a:ext uri="{FF2B5EF4-FFF2-40B4-BE49-F238E27FC236}">
                  <a16:creationId xmlns:a16="http://schemas.microsoft.com/office/drawing/2014/main" id="{D6D61522-808E-1BF2-AA13-AFE8575AC9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59" name="TextBox 9">
            <a:extLst>
              <a:ext uri="{FF2B5EF4-FFF2-40B4-BE49-F238E27FC236}">
                <a16:creationId xmlns:a16="http://schemas.microsoft.com/office/drawing/2014/main" id="{145A0D4A-BD9C-3547-BA29-400F379EF960}"/>
              </a:ext>
            </a:extLst>
          </p:cNvPr>
          <p:cNvSpPr txBox="1"/>
          <p:nvPr/>
        </p:nvSpPr>
        <p:spPr>
          <a:xfrm>
            <a:off x="479425" y="5393495"/>
            <a:ext cx="97845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l-GR" sz="1100" dirty="0"/>
              <a:t>Υπόμνημα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CF27CA-477D-C97B-C2F1-B0A8170C3224}"/>
              </a:ext>
            </a:extLst>
          </p:cNvPr>
          <p:cNvGrpSpPr/>
          <p:nvPr/>
        </p:nvGrpSpPr>
        <p:grpSpPr>
          <a:xfrm>
            <a:off x="1582036" y="5375522"/>
            <a:ext cx="1418447" cy="274320"/>
            <a:chOff x="1582036" y="5359077"/>
            <a:chExt cx="1418447" cy="27432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8F27081D-6197-A917-4DCF-4835789FCC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82036" y="5359077"/>
              <a:ext cx="274320" cy="274320"/>
            </a:xfrm>
            <a:prstGeom prst="ellipse">
              <a:avLst/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61" name="TextBox 107">
              <a:extLst>
                <a:ext uri="{FF2B5EF4-FFF2-40B4-BE49-F238E27FC236}">
                  <a16:creationId xmlns:a16="http://schemas.microsoft.com/office/drawing/2014/main" id="{0B954F9D-5544-6C63-C9CC-08D09C10E618}"/>
                </a:ext>
              </a:extLst>
            </p:cNvPr>
            <p:cNvSpPr txBox="1"/>
            <p:nvPr/>
          </p:nvSpPr>
          <p:spPr>
            <a:xfrm>
              <a:off x="1856356" y="5411599"/>
              <a:ext cx="1144127" cy="169277"/>
            </a:xfrm>
            <a:prstGeom prst="rect">
              <a:avLst/>
            </a:prstGeom>
            <a:noFill/>
          </p:spPr>
          <p:txBody>
            <a:bodyPr wrap="square" lIns="182880" tIns="0" rIns="0" bIns="0" rtlCol="0">
              <a:spAutoFit/>
            </a:bodyPr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l-GR" sz="1100" dirty="0"/>
                <a:t>0/4 κατάλληλο 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ED0ECAAD-75DD-66E2-227A-5B45F49B2727}"/>
              </a:ext>
            </a:extLst>
          </p:cNvPr>
          <p:cNvGrpSpPr/>
          <p:nvPr/>
        </p:nvGrpSpPr>
        <p:grpSpPr>
          <a:xfrm>
            <a:off x="8539071" y="5375522"/>
            <a:ext cx="1433413" cy="274320"/>
            <a:chOff x="8023570" y="5359077"/>
            <a:chExt cx="1433413" cy="27432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404BF54D-96FF-958E-6EA0-DDBB4433909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23570" y="5359077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63" name="TextBox 109">
              <a:extLst>
                <a:ext uri="{FF2B5EF4-FFF2-40B4-BE49-F238E27FC236}">
                  <a16:creationId xmlns:a16="http://schemas.microsoft.com/office/drawing/2014/main" id="{24C8485D-EBCE-EA9A-25CD-51D2284D99D1}"/>
                </a:ext>
              </a:extLst>
            </p:cNvPr>
            <p:cNvSpPr txBox="1"/>
            <p:nvPr/>
          </p:nvSpPr>
          <p:spPr>
            <a:xfrm>
              <a:off x="8297890" y="5411599"/>
              <a:ext cx="1159093" cy="169277"/>
            </a:xfrm>
            <a:prstGeom prst="rect">
              <a:avLst/>
            </a:prstGeom>
            <a:noFill/>
          </p:spPr>
          <p:txBody>
            <a:bodyPr wrap="square" lIns="182880" tIns="0" rIns="0" bIns="0" rtlCol="0">
              <a:spAutoFit/>
            </a:bodyPr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l-GR" sz="1100" dirty="0"/>
                <a:t>4/4 κατάλληλο 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3D851F76-E6A8-45BF-C646-F1557E1EEAF2}"/>
              </a:ext>
            </a:extLst>
          </p:cNvPr>
          <p:cNvGrpSpPr/>
          <p:nvPr/>
        </p:nvGrpSpPr>
        <p:grpSpPr>
          <a:xfrm>
            <a:off x="3324666" y="5375522"/>
            <a:ext cx="1424625" cy="274320"/>
            <a:chOff x="3282016" y="5391968"/>
            <a:chExt cx="1424625" cy="274320"/>
          </a:xfrm>
        </p:grpSpPr>
        <p:sp>
          <p:nvSpPr>
            <p:cNvPr id="64" name="TextBox 111">
              <a:extLst>
                <a:ext uri="{FF2B5EF4-FFF2-40B4-BE49-F238E27FC236}">
                  <a16:creationId xmlns:a16="http://schemas.microsoft.com/office/drawing/2014/main" id="{CC994D1C-5123-07C0-D7A8-D3147739030F}"/>
                </a:ext>
              </a:extLst>
            </p:cNvPr>
            <p:cNvSpPr txBox="1"/>
            <p:nvPr/>
          </p:nvSpPr>
          <p:spPr>
            <a:xfrm>
              <a:off x="3557378" y="5411599"/>
              <a:ext cx="1149263" cy="169277"/>
            </a:xfrm>
            <a:prstGeom prst="rect">
              <a:avLst/>
            </a:prstGeom>
            <a:noFill/>
          </p:spPr>
          <p:txBody>
            <a:bodyPr wrap="square" lIns="182880" tIns="0" rIns="0" bIns="0" rtlCol="0">
              <a:spAutoFit/>
            </a:bodyPr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l-GR" sz="1100" dirty="0"/>
                <a:t>1/4 κατάλληλο </a:t>
              </a: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2CB1E601-258F-789F-CEB8-3D173BE131D8}"/>
                </a:ext>
              </a:extLst>
            </p:cNvPr>
            <p:cNvGrpSpPr/>
            <p:nvPr/>
          </p:nvGrpSpPr>
          <p:grpSpPr>
            <a:xfrm>
              <a:off x="3282016" y="5391968"/>
              <a:ext cx="274320" cy="274320"/>
              <a:chOff x="3283059" y="5490082"/>
              <a:chExt cx="274320" cy="274320"/>
            </a:xfrm>
          </p:grpSpPr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B3E6527A-5DB9-F6DB-6367-A71DAD2AB66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283059" y="5490082"/>
                <a:ext cx="274320" cy="274320"/>
              </a:xfrm>
              <a:prstGeom prst="ellipse">
                <a:avLst/>
              </a:prstGeom>
              <a:solidFill>
                <a:srgbClr val="38AFD9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1198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23967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35951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4793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59918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71901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8388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95868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000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Partial Circle 68">
                <a:extLst>
                  <a:ext uri="{FF2B5EF4-FFF2-40B4-BE49-F238E27FC236}">
                    <a16:creationId xmlns:a16="http://schemas.microsoft.com/office/drawing/2014/main" id="{FD38793D-4924-5EE3-DC93-2571B349A8F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283059" y="5490082"/>
                <a:ext cx="274320" cy="274320"/>
              </a:xfrm>
              <a:prstGeom prst="pie">
                <a:avLst/>
              </a:prstGeom>
              <a:solidFill>
                <a:srgbClr val="F0F1F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1198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23967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35951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4793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59918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71901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8388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95868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00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0BF873C0-E11C-670B-9511-35548486EE42}"/>
              </a:ext>
            </a:extLst>
          </p:cNvPr>
          <p:cNvGrpSpPr/>
          <p:nvPr/>
        </p:nvGrpSpPr>
        <p:grpSpPr>
          <a:xfrm>
            <a:off x="5073474" y="5375522"/>
            <a:ext cx="1405222" cy="274320"/>
            <a:chOff x="4799197" y="5359077"/>
            <a:chExt cx="1405222" cy="274320"/>
          </a:xfrm>
        </p:grpSpPr>
        <p:sp>
          <p:nvSpPr>
            <p:cNvPr id="65" name="TextBox 113">
              <a:extLst>
                <a:ext uri="{FF2B5EF4-FFF2-40B4-BE49-F238E27FC236}">
                  <a16:creationId xmlns:a16="http://schemas.microsoft.com/office/drawing/2014/main" id="{C1084B5B-0B29-0D7F-D6F3-CDF2D500FD04}"/>
                </a:ext>
              </a:extLst>
            </p:cNvPr>
            <p:cNvSpPr txBox="1"/>
            <p:nvPr/>
          </p:nvSpPr>
          <p:spPr>
            <a:xfrm>
              <a:off x="5073516" y="5411599"/>
              <a:ext cx="1130903" cy="169277"/>
            </a:xfrm>
            <a:prstGeom prst="rect">
              <a:avLst/>
            </a:prstGeom>
            <a:noFill/>
          </p:spPr>
          <p:txBody>
            <a:bodyPr wrap="square" lIns="182880" tIns="0" rIns="0" bIns="0" rtlCol="0">
              <a:spAutoFit/>
            </a:bodyPr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l-GR" sz="1100" dirty="0"/>
                <a:t>2/4 κατάλληλο </a:t>
              </a:r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DD90B0E6-12DA-888F-E928-D13A0EFF5B01}"/>
                </a:ext>
              </a:extLst>
            </p:cNvPr>
            <p:cNvGrpSpPr/>
            <p:nvPr/>
          </p:nvGrpSpPr>
          <p:grpSpPr>
            <a:xfrm>
              <a:off x="4799197" y="5359077"/>
              <a:ext cx="274320" cy="274320"/>
              <a:chOff x="2785824" y="4061651"/>
              <a:chExt cx="274320" cy="274320"/>
            </a:xfrm>
          </p:grpSpPr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0C80905D-FFDF-1BB6-4886-3BD529E556C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785824" y="4061651"/>
                <a:ext cx="274320" cy="274320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1198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23967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35951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4793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59918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71901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8388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95868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000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Partial Circle 71">
                <a:extLst>
                  <a:ext uri="{FF2B5EF4-FFF2-40B4-BE49-F238E27FC236}">
                    <a16:creationId xmlns:a16="http://schemas.microsoft.com/office/drawing/2014/main" id="{1AE9918D-2E13-2E88-9838-1ED3602B914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785824" y="4061651"/>
                <a:ext cx="274320" cy="274320"/>
              </a:xfrm>
              <a:prstGeom prst="pie">
                <a:avLst>
                  <a:gd name="adj1" fmla="val 5420215"/>
                  <a:gd name="adj2" fmla="val 16200000"/>
                </a:avLst>
              </a:prstGeom>
              <a:solidFill>
                <a:srgbClr val="F0F1F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1198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23967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35951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4793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59918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71901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8388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95868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00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95EB82BC-1909-23BC-1872-596A54ECC16D}"/>
              </a:ext>
            </a:extLst>
          </p:cNvPr>
          <p:cNvGrpSpPr/>
          <p:nvPr/>
        </p:nvGrpSpPr>
        <p:grpSpPr>
          <a:xfrm>
            <a:off x="6802879" y="5375522"/>
            <a:ext cx="1412010" cy="274320"/>
            <a:chOff x="6320501" y="5359077"/>
            <a:chExt cx="1412010" cy="274320"/>
          </a:xfrm>
        </p:grpSpPr>
        <p:sp>
          <p:nvSpPr>
            <p:cNvPr id="66" name="TextBox 120">
              <a:extLst>
                <a:ext uri="{FF2B5EF4-FFF2-40B4-BE49-F238E27FC236}">
                  <a16:creationId xmlns:a16="http://schemas.microsoft.com/office/drawing/2014/main" id="{285EDA7A-9987-116D-68EB-51320B1681E3}"/>
                </a:ext>
              </a:extLst>
            </p:cNvPr>
            <p:cNvSpPr txBox="1"/>
            <p:nvPr/>
          </p:nvSpPr>
          <p:spPr>
            <a:xfrm>
              <a:off x="6594821" y="5411599"/>
              <a:ext cx="1137690" cy="169277"/>
            </a:xfrm>
            <a:prstGeom prst="rect">
              <a:avLst/>
            </a:prstGeom>
            <a:noFill/>
          </p:spPr>
          <p:txBody>
            <a:bodyPr wrap="square" lIns="182880" tIns="0" rIns="0" bIns="0" rtlCol="0">
              <a:spAutoFit/>
            </a:bodyPr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l-GR" sz="1100" dirty="0"/>
                <a:t>3/4 κατάλληλο </a:t>
              </a: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2DD67F20-2A94-1FBA-E28D-C8CD9F8CF420}"/>
                </a:ext>
              </a:extLst>
            </p:cNvPr>
            <p:cNvGrpSpPr/>
            <p:nvPr/>
          </p:nvGrpSpPr>
          <p:grpSpPr>
            <a:xfrm>
              <a:off x="6320501" y="5359077"/>
              <a:ext cx="274320" cy="274320"/>
              <a:chOff x="2543113" y="4787075"/>
              <a:chExt cx="274320" cy="274320"/>
            </a:xfrm>
          </p:grpSpPr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F0826766-91C7-BDA8-B9D7-795B07CB6BC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543113" y="4787075"/>
                <a:ext cx="274320" cy="274320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1198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23967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35951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4793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59918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71901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8388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95868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000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Partial Circle 74">
                <a:extLst>
                  <a:ext uri="{FF2B5EF4-FFF2-40B4-BE49-F238E27FC236}">
                    <a16:creationId xmlns:a16="http://schemas.microsoft.com/office/drawing/2014/main" id="{0EB3B7F5-625C-FCCA-8652-F4FB5D934AC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543113" y="4787075"/>
                <a:ext cx="274320" cy="274320"/>
              </a:xfrm>
              <a:prstGeom prst="pie">
                <a:avLst>
                  <a:gd name="adj1" fmla="val 10800000"/>
                  <a:gd name="adj2" fmla="val 16200000"/>
                </a:avLst>
              </a:prstGeom>
              <a:solidFill>
                <a:srgbClr val="F0F1F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1198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23967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35951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4793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59918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71901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83884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95868" algn="l" defTabSz="1023967" rtl="0" eaLnBrk="1" latinLnBrk="0" hangingPunct="1">
                  <a:defRPr sz="20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0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33489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B9F7E-044D-DB57-877B-CD54435A91D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9990FB-9F10-E8CB-63B8-CE415E68B6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l-GR" dirty="0"/>
              <a:t>Σύνοψη προϊόντος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B2F2A7-A4AE-64F7-CCF2-C0E5CCCEAE1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l-GR"/>
              <a:t>ΠΩΛΗΣΕΙΣ &amp; ΤΕΧΝΙΚΗ ΠΑΡΟΥΣΙΑΣΗ </a:t>
            </a:r>
            <a:r>
              <a:rPr lang="en-US"/>
              <a:t>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56AD46-2316-1DF9-9222-04D1C6CF74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70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90E30D1931D74AA31AAF46CFE106EB" ma:contentTypeVersion="12" ma:contentTypeDescription="Create a new document." ma:contentTypeScope="" ma:versionID="b79afbd18b75f370f452cc30941d5b59">
  <xsd:schema xmlns:xsd="http://www.w3.org/2001/XMLSchema" xmlns:xs="http://www.w3.org/2001/XMLSchema" xmlns:p="http://schemas.microsoft.com/office/2006/metadata/properties" xmlns:ns1="http://schemas.microsoft.com/sharepoint/v3" xmlns:ns2="354dde04-e399-458e-afd2-5780735c498f" xmlns:ns3="b38e86ad-ecae-4d8b-a6a2-599c57c8c9ab" targetNamespace="http://schemas.microsoft.com/office/2006/metadata/properties" ma:root="true" ma:fieldsID="0bee1d93ba4506912d08c8c1f7363610" ns1:_="" ns2:_="" ns3:_="">
    <xsd:import namespace="http://schemas.microsoft.com/sharepoint/v3"/>
    <xsd:import namespace="354dde04-e399-458e-afd2-5780735c498f"/>
    <xsd:import namespace="b38e86ad-ecae-4d8b-a6a2-599c57c8c9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4dde04-e399-458e-afd2-5780735c49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8e86ad-ecae-4d8b-a6a2-599c57c8c9a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35D97F-54F6-4139-90B1-4BC360E16E53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354dde04-e399-458e-afd2-5780735c498f"/>
    <ds:schemaRef ds:uri="http://purl.org/dc/elements/1.1/"/>
    <ds:schemaRef ds:uri="http://schemas.microsoft.com/office/2006/metadata/properties"/>
    <ds:schemaRef ds:uri="b38e86ad-ecae-4d8b-a6a2-599c57c8c9ab"/>
    <ds:schemaRef ds:uri="http://schemas.microsoft.com/sharepoint/v3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933518B-43B2-4E22-9BD4-31F5AEA376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54dde04-e399-458e-afd2-5780735c498f"/>
    <ds:schemaRef ds:uri="b38e86ad-ecae-4d8b-a6a2-599c57c8c9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825</TotalTime>
  <Words>990</Words>
  <Application>Microsoft Office PowerPoint</Application>
  <PresentationFormat>Widescreen</PresentationFormat>
  <Paragraphs>311</Paragraphs>
  <Slides>2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35" baseType="lpstr">
      <vt:lpstr>Arial</vt:lpstr>
      <vt:lpstr>Calibri</vt:lpstr>
      <vt:lpstr>Courier New</vt:lpstr>
      <vt:lpstr>Roboto</vt:lpstr>
      <vt:lpstr>Roboto Black</vt:lpstr>
      <vt:lpstr>Roboto Bold</vt:lpstr>
      <vt:lpstr>Roboto Light</vt:lpstr>
      <vt:lpstr>Roboto Light (Body)</vt:lpstr>
      <vt:lpstr>Roboto Light italic</vt:lpstr>
      <vt:lpstr>Segoe MDL2 Assets</vt:lpstr>
      <vt:lpstr>Nilfisk Toolbox_Standard_4-3</vt:lpstr>
      <vt:lpstr>think-cell Slide</vt:lpstr>
      <vt:lpstr>Diapositiva think-cell</vt:lpstr>
      <vt:lpstr>VU200 Παρουσίαση</vt:lpstr>
      <vt:lpstr>Περιεχόμενα</vt:lpstr>
      <vt:lpstr>1</vt:lpstr>
      <vt:lpstr>Πρόταση αξίας</vt:lpstr>
      <vt:lpstr>2</vt:lpstr>
      <vt:lpstr>Το προϊόν</vt:lpstr>
      <vt:lpstr>Τομείς στόχοι </vt:lpstr>
      <vt:lpstr>Εργασίες καθαρισμού</vt:lpstr>
      <vt:lpstr>3</vt:lpstr>
      <vt:lpstr>Σύνοψη προϊόντος</vt:lpstr>
      <vt:lpstr>4</vt:lpstr>
      <vt:lpstr>Πλεονεκτήματα για τον πελάτη</vt:lpstr>
      <vt:lpstr>5</vt:lpstr>
      <vt:lpstr>PowerPoint Presentation</vt:lpstr>
      <vt:lpstr>PowerPoint Presentation</vt:lpstr>
      <vt:lpstr>PowerPoint Presentation</vt:lpstr>
      <vt:lpstr>6</vt:lpstr>
      <vt:lpstr>Τεχνικές προδιαγραφές</vt:lpstr>
      <vt:lpstr>Χαρακτηριστικά</vt:lpstr>
      <vt:lpstr>7</vt:lpstr>
      <vt:lpstr>Εξαρτήματα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CC</dc:creator>
  <cp:lastModifiedBy>Anastasia Droungani</cp:lastModifiedBy>
  <cp:revision>47</cp:revision>
  <dcterms:created xsi:type="dcterms:W3CDTF">2024-12-27T01:03:51Z</dcterms:created>
  <dcterms:modified xsi:type="dcterms:W3CDTF">2025-03-05T11:0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0D90E30D1931D74AA31AAF46CFE106EB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</Properties>
</file>